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0" r:id="rId3"/>
    <p:sldId id="262" r:id="rId4"/>
    <p:sldId id="2076138132" r:id="rId5"/>
    <p:sldId id="2076138150" r:id="rId6"/>
    <p:sldId id="2076138148" r:id="rId7"/>
    <p:sldId id="2076138147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BD958B-FF5B-47A9-A2FF-FAAED5FCE615}" v="9" dt="2021-02-16T13:29:16.0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ncy Underwood" userId="78c8db2d-409e-4ec7-a575-391289e3794c" providerId="ADAL" clId="{19BD958B-FF5B-47A9-A2FF-FAAED5FCE615}"/>
    <pc:docChg chg="custSel addSld delSld modSld">
      <pc:chgData name="Nancy Underwood" userId="78c8db2d-409e-4ec7-a575-391289e3794c" providerId="ADAL" clId="{19BD958B-FF5B-47A9-A2FF-FAAED5FCE615}" dt="2021-02-16T13:29:16.016" v="48" actId="478"/>
      <pc:docMkLst>
        <pc:docMk/>
      </pc:docMkLst>
      <pc:sldChg chg="addSp delSp modSp add mod modTransition">
        <pc:chgData name="Nancy Underwood" userId="78c8db2d-409e-4ec7-a575-391289e3794c" providerId="ADAL" clId="{19BD958B-FF5B-47A9-A2FF-FAAED5FCE615}" dt="2021-02-16T13:26:29.698" v="43" actId="1076"/>
        <pc:sldMkLst>
          <pc:docMk/>
          <pc:sldMk cId="3635425085" sldId="3073"/>
        </pc:sldMkLst>
        <pc:spChg chg="del">
          <ac:chgData name="Nancy Underwood" userId="78c8db2d-409e-4ec7-a575-391289e3794c" providerId="ADAL" clId="{19BD958B-FF5B-47A9-A2FF-FAAED5FCE615}" dt="2021-02-16T13:26:13.548" v="37" actId="478"/>
          <ac:spMkLst>
            <pc:docMk/>
            <pc:sldMk cId="3635425085" sldId="3073"/>
            <ac:spMk id="2" creationId="{1D917123-5405-438E-843A-5D7DA2530884}"/>
          </ac:spMkLst>
        </pc:spChg>
        <pc:spChg chg="del">
          <ac:chgData name="Nancy Underwood" userId="78c8db2d-409e-4ec7-a575-391289e3794c" providerId="ADAL" clId="{19BD958B-FF5B-47A9-A2FF-FAAED5FCE615}" dt="2021-02-16T13:26:02.103" v="32" actId="478"/>
          <ac:spMkLst>
            <pc:docMk/>
            <pc:sldMk cId="3635425085" sldId="3073"/>
            <ac:spMk id="3" creationId="{335669E8-098C-4673-8437-05A0998906DA}"/>
          </ac:spMkLst>
        </pc:spChg>
        <pc:spChg chg="add del mod">
          <ac:chgData name="Nancy Underwood" userId="78c8db2d-409e-4ec7-a575-391289e3794c" providerId="ADAL" clId="{19BD958B-FF5B-47A9-A2FF-FAAED5FCE615}" dt="2021-02-16T13:26:04.907" v="33" actId="478"/>
          <ac:spMkLst>
            <pc:docMk/>
            <pc:sldMk cId="3635425085" sldId="3073"/>
            <ac:spMk id="6" creationId="{14E8C7A6-B07F-4726-96D6-4091C067DE81}"/>
          </ac:spMkLst>
        </pc:spChg>
        <pc:spChg chg="del mod">
          <ac:chgData name="Nancy Underwood" userId="78c8db2d-409e-4ec7-a575-391289e3794c" providerId="ADAL" clId="{19BD958B-FF5B-47A9-A2FF-FAAED5FCE615}" dt="2021-02-16T13:26:15.864" v="38" actId="478"/>
          <ac:spMkLst>
            <pc:docMk/>
            <pc:sldMk cId="3635425085" sldId="3073"/>
            <ac:spMk id="69" creationId="{2324F7B5-52D0-4704-8740-85EC3E43299C}"/>
          </ac:spMkLst>
        </pc:spChg>
        <pc:spChg chg="del mod">
          <ac:chgData name="Nancy Underwood" userId="78c8db2d-409e-4ec7-a575-391289e3794c" providerId="ADAL" clId="{19BD958B-FF5B-47A9-A2FF-FAAED5FCE615}" dt="2021-02-16T13:26:22.764" v="42" actId="478"/>
          <ac:spMkLst>
            <pc:docMk/>
            <pc:sldMk cId="3635425085" sldId="3073"/>
            <ac:spMk id="155" creationId="{87AA67BD-00CD-4878-8F66-28DD04852A1B}"/>
          </ac:spMkLst>
        </pc:spChg>
        <pc:spChg chg="del">
          <ac:chgData name="Nancy Underwood" userId="78c8db2d-409e-4ec7-a575-391289e3794c" providerId="ADAL" clId="{19BD958B-FF5B-47A9-A2FF-FAAED5FCE615}" dt="2021-02-16T13:26:09.244" v="35" actId="478"/>
          <ac:spMkLst>
            <pc:docMk/>
            <pc:sldMk cId="3635425085" sldId="3073"/>
            <ac:spMk id="157" creationId="{33F712A1-F803-4F98-B51A-3DDE7037DFAE}"/>
          </ac:spMkLst>
        </pc:spChg>
        <pc:grpChg chg="mod">
          <ac:chgData name="Nancy Underwood" userId="78c8db2d-409e-4ec7-a575-391289e3794c" providerId="ADAL" clId="{19BD958B-FF5B-47A9-A2FF-FAAED5FCE615}" dt="2021-02-16T13:26:29.698" v="43" actId="1076"/>
          <ac:grpSpMkLst>
            <pc:docMk/>
            <pc:sldMk cId="3635425085" sldId="3073"/>
            <ac:grpSpMk id="8" creationId="{77F341DA-E8EF-4E1D-B690-DBE2CBB15029}"/>
          </ac:grpSpMkLst>
        </pc:grpChg>
        <pc:grpChg chg="del">
          <ac:chgData name="Nancy Underwood" userId="78c8db2d-409e-4ec7-a575-391289e3794c" providerId="ADAL" clId="{19BD958B-FF5B-47A9-A2FF-FAAED5FCE615}" dt="2021-02-16T13:26:17.544" v="39" actId="478"/>
          <ac:grpSpMkLst>
            <pc:docMk/>
            <pc:sldMk cId="3635425085" sldId="3073"/>
            <ac:grpSpMk id="158" creationId="{15DB06FB-C751-47DD-8B3F-6BA25010E53E}"/>
          </ac:grpSpMkLst>
        </pc:grpChg>
        <pc:cxnChg chg="del">
          <ac:chgData name="Nancy Underwood" userId="78c8db2d-409e-4ec7-a575-391289e3794c" providerId="ADAL" clId="{19BD958B-FF5B-47A9-A2FF-FAAED5FCE615}" dt="2021-02-16T13:26:07.971" v="34" actId="478"/>
          <ac:cxnSpMkLst>
            <pc:docMk/>
            <pc:sldMk cId="3635425085" sldId="3073"/>
            <ac:cxnSpMk id="68" creationId="{3B2FD325-30BB-4981-87E6-36691FC38442}"/>
          </ac:cxnSpMkLst>
        </pc:cxnChg>
        <pc:cxnChg chg="del">
          <ac:chgData name="Nancy Underwood" userId="78c8db2d-409e-4ec7-a575-391289e3794c" providerId="ADAL" clId="{19BD958B-FF5B-47A9-A2FF-FAAED5FCE615}" dt="2021-02-16T13:26:19.787" v="40" actId="478"/>
          <ac:cxnSpMkLst>
            <pc:docMk/>
            <pc:sldMk cId="3635425085" sldId="3073"/>
            <ac:cxnSpMk id="156" creationId="{00B2A27A-D5F6-47CE-9AE7-DC5FCF48688C}"/>
          </ac:cxnSpMkLst>
        </pc:cxnChg>
      </pc:sldChg>
      <pc:sldChg chg="addSp delSp modSp add mod">
        <pc:chgData name="Nancy Underwood" userId="78c8db2d-409e-4ec7-a575-391289e3794c" providerId="ADAL" clId="{19BD958B-FF5B-47A9-A2FF-FAAED5FCE615}" dt="2021-02-16T13:15:16.771" v="17" actId="478"/>
        <pc:sldMkLst>
          <pc:docMk/>
          <pc:sldMk cId="3475525139" sldId="2076138132"/>
        </pc:sldMkLst>
        <pc:spChg chg="add del mod">
          <ac:chgData name="Nancy Underwood" userId="78c8db2d-409e-4ec7-a575-391289e3794c" providerId="ADAL" clId="{19BD958B-FF5B-47A9-A2FF-FAAED5FCE615}" dt="2021-02-16T13:14:52.888" v="11" actId="478"/>
          <ac:spMkLst>
            <pc:docMk/>
            <pc:sldMk cId="3475525139" sldId="2076138132"/>
            <ac:spMk id="5" creationId="{8E876D80-B5DD-4723-947E-C7407D5304AD}"/>
          </ac:spMkLst>
        </pc:spChg>
        <pc:spChg chg="del mod">
          <ac:chgData name="Nancy Underwood" userId="78c8db2d-409e-4ec7-a575-391289e3794c" providerId="ADAL" clId="{19BD958B-FF5B-47A9-A2FF-FAAED5FCE615}" dt="2021-02-16T13:14:45.421" v="10" actId="478"/>
          <ac:spMkLst>
            <pc:docMk/>
            <pc:sldMk cId="3475525139" sldId="2076138132"/>
            <ac:spMk id="17" creationId="{00000000-0000-0000-0000-000000000000}"/>
          </ac:spMkLst>
        </pc:spChg>
        <pc:spChg chg="del">
          <ac:chgData name="Nancy Underwood" userId="78c8db2d-409e-4ec7-a575-391289e3794c" providerId="ADAL" clId="{19BD958B-FF5B-47A9-A2FF-FAAED5FCE615}" dt="2021-02-16T13:14:29.294" v="7" actId="478"/>
          <ac:spMkLst>
            <pc:docMk/>
            <pc:sldMk cId="3475525139" sldId="2076138132"/>
            <ac:spMk id="25" creationId="{49DDCBFE-A2AE-47D2-B1BA-B90F9D4C552F}"/>
          </ac:spMkLst>
        </pc:spChg>
        <pc:spChg chg="del mod">
          <ac:chgData name="Nancy Underwood" userId="78c8db2d-409e-4ec7-a575-391289e3794c" providerId="ADAL" clId="{19BD958B-FF5B-47A9-A2FF-FAAED5FCE615}" dt="2021-02-16T13:14:39.185" v="9" actId="478"/>
          <ac:spMkLst>
            <pc:docMk/>
            <pc:sldMk cId="3475525139" sldId="2076138132"/>
            <ac:spMk id="26" creationId="{A8D6CC78-57BC-49F9-BB13-F2D47A2ACA9E}"/>
          </ac:spMkLst>
        </pc:spChg>
        <pc:spChg chg="del">
          <ac:chgData name="Nancy Underwood" userId="78c8db2d-409e-4ec7-a575-391289e3794c" providerId="ADAL" clId="{19BD958B-FF5B-47A9-A2FF-FAAED5FCE615}" dt="2021-02-16T13:14:57.218" v="12" actId="478"/>
          <ac:spMkLst>
            <pc:docMk/>
            <pc:sldMk cId="3475525139" sldId="2076138132"/>
            <ac:spMk id="32" creationId="{39957653-D9AC-4B13-A6AA-237DA8C112B0}"/>
          </ac:spMkLst>
        </pc:spChg>
        <pc:spChg chg="del">
          <ac:chgData name="Nancy Underwood" userId="78c8db2d-409e-4ec7-a575-391289e3794c" providerId="ADAL" clId="{19BD958B-FF5B-47A9-A2FF-FAAED5FCE615}" dt="2021-02-16T13:14:26.336" v="6" actId="478"/>
          <ac:spMkLst>
            <pc:docMk/>
            <pc:sldMk cId="3475525139" sldId="2076138132"/>
            <ac:spMk id="47" creationId="{8A75BF9F-2CF6-463B-A80E-F7B003671C43}"/>
          </ac:spMkLst>
        </pc:spChg>
        <pc:spChg chg="del">
          <ac:chgData name="Nancy Underwood" userId="78c8db2d-409e-4ec7-a575-391289e3794c" providerId="ADAL" clId="{19BD958B-FF5B-47A9-A2FF-FAAED5FCE615}" dt="2021-02-16T13:14:59.972" v="13" actId="478"/>
          <ac:spMkLst>
            <pc:docMk/>
            <pc:sldMk cId="3475525139" sldId="2076138132"/>
            <ac:spMk id="48" creationId="{40F084AD-B36A-45D8-9364-4E777F88810E}"/>
          </ac:spMkLst>
        </pc:spChg>
        <pc:spChg chg="del">
          <ac:chgData name="Nancy Underwood" userId="78c8db2d-409e-4ec7-a575-391289e3794c" providerId="ADAL" clId="{19BD958B-FF5B-47A9-A2FF-FAAED5FCE615}" dt="2021-02-16T13:15:06.853" v="15" actId="478"/>
          <ac:spMkLst>
            <pc:docMk/>
            <pc:sldMk cId="3475525139" sldId="2076138132"/>
            <ac:spMk id="49" creationId="{AEF4843F-1F06-41A2-921C-59403B49D663}"/>
          </ac:spMkLst>
        </pc:spChg>
        <pc:spChg chg="del">
          <ac:chgData name="Nancy Underwood" userId="78c8db2d-409e-4ec7-a575-391289e3794c" providerId="ADAL" clId="{19BD958B-FF5B-47A9-A2FF-FAAED5FCE615}" dt="2021-02-16T13:15:02.958" v="14" actId="478"/>
          <ac:spMkLst>
            <pc:docMk/>
            <pc:sldMk cId="3475525139" sldId="2076138132"/>
            <ac:spMk id="50" creationId="{983CD461-2465-4346-8634-1841A67D2EB4}"/>
          </ac:spMkLst>
        </pc:spChg>
        <pc:grpChg chg="del">
          <ac:chgData name="Nancy Underwood" userId="78c8db2d-409e-4ec7-a575-391289e3794c" providerId="ADAL" clId="{19BD958B-FF5B-47A9-A2FF-FAAED5FCE615}" dt="2021-02-16T13:15:11.944" v="16" actId="478"/>
          <ac:grpSpMkLst>
            <pc:docMk/>
            <pc:sldMk cId="3475525139" sldId="2076138132"/>
            <ac:grpSpMk id="70" creationId="{93500DA9-A5AD-435B-AD1E-47102B74A817}"/>
          </ac:grpSpMkLst>
        </pc:grpChg>
        <pc:cxnChg chg="del">
          <ac:chgData name="Nancy Underwood" userId="78c8db2d-409e-4ec7-a575-391289e3794c" providerId="ADAL" clId="{19BD958B-FF5B-47A9-A2FF-FAAED5FCE615}" dt="2021-02-16T13:15:16.771" v="17" actId="478"/>
          <ac:cxnSpMkLst>
            <pc:docMk/>
            <pc:sldMk cId="3475525139" sldId="2076138132"/>
            <ac:cxnSpMk id="52" creationId="{E6F4AC3E-E7A6-4247-B468-F1116F190654}"/>
          </ac:cxnSpMkLst>
        </pc:cxnChg>
      </pc:sldChg>
      <pc:sldChg chg="addSp delSp new del mod">
        <pc:chgData name="Nancy Underwood" userId="78c8db2d-409e-4ec7-a575-391289e3794c" providerId="ADAL" clId="{19BD958B-FF5B-47A9-A2FF-FAAED5FCE615}" dt="2021-02-16T13:15:25.055" v="18" actId="47"/>
        <pc:sldMkLst>
          <pc:docMk/>
          <pc:sldMk cId="34192789" sldId="2076138133"/>
        </pc:sldMkLst>
        <pc:spChg chg="del">
          <ac:chgData name="Nancy Underwood" userId="78c8db2d-409e-4ec7-a575-391289e3794c" providerId="ADAL" clId="{19BD958B-FF5B-47A9-A2FF-FAAED5FCE615}" dt="2021-02-16T13:13:59.398" v="3" actId="478"/>
          <ac:spMkLst>
            <pc:docMk/>
            <pc:sldMk cId="34192789" sldId="2076138133"/>
            <ac:spMk id="2" creationId="{614B8226-B915-4FFB-97E3-2F693B94ADA5}"/>
          </ac:spMkLst>
        </pc:spChg>
        <pc:spChg chg="add">
          <ac:chgData name="Nancy Underwood" userId="78c8db2d-409e-4ec7-a575-391289e3794c" providerId="ADAL" clId="{19BD958B-FF5B-47A9-A2FF-FAAED5FCE615}" dt="2021-02-16T13:14:01.748" v="4" actId="22"/>
          <ac:spMkLst>
            <pc:docMk/>
            <pc:sldMk cId="34192789" sldId="2076138133"/>
            <ac:spMk id="4" creationId="{EDE59194-AD9B-4387-B213-8327BF51FEFD}"/>
          </ac:spMkLst>
        </pc:spChg>
        <pc:spChg chg="add">
          <ac:chgData name="Nancy Underwood" userId="78c8db2d-409e-4ec7-a575-391289e3794c" providerId="ADAL" clId="{19BD958B-FF5B-47A9-A2FF-FAAED5FCE615}" dt="2021-02-16T13:14:13.014" v="5" actId="22"/>
          <ac:spMkLst>
            <pc:docMk/>
            <pc:sldMk cId="34192789" sldId="2076138133"/>
            <ac:spMk id="6" creationId="{6C1F9549-EA10-47D0-9CD4-26622D8E7232}"/>
          </ac:spMkLst>
        </pc:spChg>
      </pc:sldChg>
      <pc:sldChg chg="addSp delSp modSp add mod">
        <pc:chgData name="Nancy Underwood" userId="78c8db2d-409e-4ec7-a575-391289e3794c" providerId="ADAL" clId="{19BD958B-FF5B-47A9-A2FF-FAAED5FCE615}" dt="2021-02-16T13:24:44.730" v="30" actId="478"/>
        <pc:sldMkLst>
          <pc:docMk/>
          <pc:sldMk cId="2482343947" sldId="2076138134"/>
        </pc:sldMkLst>
        <pc:spChg chg="add del mod">
          <ac:chgData name="Nancy Underwood" userId="78c8db2d-409e-4ec7-a575-391289e3794c" providerId="ADAL" clId="{19BD958B-FF5B-47A9-A2FF-FAAED5FCE615}" dt="2021-02-16T13:24:21.295" v="22" actId="478"/>
          <ac:spMkLst>
            <pc:docMk/>
            <pc:sldMk cId="2482343947" sldId="2076138134"/>
            <ac:spMk id="11" creationId="{532ED865-B749-423B-AC00-3D06471EA088}"/>
          </ac:spMkLst>
        </pc:spChg>
        <pc:spChg chg="del mod">
          <ac:chgData name="Nancy Underwood" userId="78c8db2d-409e-4ec7-a575-391289e3794c" providerId="ADAL" clId="{19BD958B-FF5B-47A9-A2FF-FAAED5FCE615}" dt="2021-02-16T13:24:17.690" v="21" actId="478"/>
          <ac:spMkLst>
            <pc:docMk/>
            <pc:sldMk cId="2482343947" sldId="2076138134"/>
            <ac:spMk id="17" creationId="{00000000-0000-0000-0000-000000000000}"/>
          </ac:spMkLst>
        </pc:spChg>
        <pc:spChg chg="del">
          <ac:chgData name="Nancy Underwood" userId="78c8db2d-409e-4ec7-a575-391289e3794c" providerId="ADAL" clId="{19BD958B-FF5B-47A9-A2FF-FAAED5FCE615}" dt="2021-02-16T13:24:25.255" v="24" actId="478"/>
          <ac:spMkLst>
            <pc:docMk/>
            <pc:sldMk cId="2482343947" sldId="2076138134"/>
            <ac:spMk id="34" creationId="{A51A296C-C02C-4160-B2C3-EB91DC9C5DE2}"/>
          </ac:spMkLst>
        </pc:spChg>
        <pc:spChg chg="del">
          <ac:chgData name="Nancy Underwood" userId="78c8db2d-409e-4ec7-a575-391289e3794c" providerId="ADAL" clId="{19BD958B-FF5B-47A9-A2FF-FAAED5FCE615}" dt="2021-02-16T13:24:38.869" v="29" actId="478"/>
          <ac:spMkLst>
            <pc:docMk/>
            <pc:sldMk cId="2482343947" sldId="2076138134"/>
            <ac:spMk id="36" creationId="{DA9B2EDB-B6CE-4393-BEBB-1682FE69553B}"/>
          </ac:spMkLst>
        </pc:spChg>
        <pc:spChg chg="del">
          <ac:chgData name="Nancy Underwood" userId="78c8db2d-409e-4ec7-a575-391289e3794c" providerId="ADAL" clId="{19BD958B-FF5B-47A9-A2FF-FAAED5FCE615}" dt="2021-02-16T13:24:36.820" v="28" actId="478"/>
          <ac:spMkLst>
            <pc:docMk/>
            <pc:sldMk cId="2482343947" sldId="2076138134"/>
            <ac:spMk id="38" creationId="{49593E15-550B-4CD0-8D9E-D6CB8D4602DA}"/>
          </ac:spMkLst>
        </pc:spChg>
        <pc:spChg chg="del">
          <ac:chgData name="Nancy Underwood" userId="78c8db2d-409e-4ec7-a575-391289e3794c" providerId="ADAL" clId="{19BD958B-FF5B-47A9-A2FF-FAAED5FCE615}" dt="2021-02-16T13:24:34.645" v="27" actId="478"/>
          <ac:spMkLst>
            <pc:docMk/>
            <pc:sldMk cId="2482343947" sldId="2076138134"/>
            <ac:spMk id="57" creationId="{232D4539-D601-47A6-A6D7-8E5B3CDE2720}"/>
          </ac:spMkLst>
        </pc:spChg>
        <pc:grpChg chg="del">
          <ac:chgData name="Nancy Underwood" userId="78c8db2d-409e-4ec7-a575-391289e3794c" providerId="ADAL" clId="{19BD958B-FF5B-47A9-A2FF-FAAED5FCE615}" dt="2021-02-16T13:24:27.921" v="25" actId="478"/>
          <ac:grpSpMkLst>
            <pc:docMk/>
            <pc:sldMk cId="2482343947" sldId="2076138134"/>
            <ac:grpSpMk id="2" creationId="{EAD89017-ABF5-4B2E-9A27-7E97236CD670}"/>
          </ac:grpSpMkLst>
        </pc:grpChg>
        <pc:grpChg chg="del">
          <ac:chgData name="Nancy Underwood" userId="78c8db2d-409e-4ec7-a575-391289e3794c" providerId="ADAL" clId="{19BD958B-FF5B-47A9-A2FF-FAAED5FCE615}" dt="2021-02-16T13:24:32.777" v="26" actId="478"/>
          <ac:grpSpMkLst>
            <pc:docMk/>
            <pc:sldMk cId="2482343947" sldId="2076138134"/>
            <ac:grpSpMk id="8" creationId="{8913FD14-765A-49ED-8491-545E3B1D809A}"/>
          </ac:grpSpMkLst>
        </pc:grpChg>
        <pc:grpChg chg="del">
          <ac:chgData name="Nancy Underwood" userId="78c8db2d-409e-4ec7-a575-391289e3794c" providerId="ADAL" clId="{19BD958B-FF5B-47A9-A2FF-FAAED5FCE615}" dt="2021-02-16T13:24:44.730" v="30" actId="478"/>
          <ac:grpSpMkLst>
            <pc:docMk/>
            <pc:sldMk cId="2482343947" sldId="2076138134"/>
            <ac:grpSpMk id="31" creationId="{587205F8-AD47-4563-B4AB-834B97C052EB}"/>
          </ac:grpSpMkLst>
        </pc:grpChg>
        <pc:grpChg chg="del">
          <ac:chgData name="Nancy Underwood" userId="78c8db2d-409e-4ec7-a575-391289e3794c" providerId="ADAL" clId="{19BD958B-FF5B-47A9-A2FF-FAAED5FCE615}" dt="2021-02-16T13:24:23.300" v="23" actId="478"/>
          <ac:grpSpMkLst>
            <pc:docMk/>
            <pc:sldMk cId="2482343947" sldId="2076138134"/>
            <ac:grpSpMk id="68" creationId="{8DA6C7D9-91BD-44FD-A4D2-F82AB4A5B22E}"/>
          </ac:grpSpMkLst>
        </pc:grpChg>
      </pc:sldChg>
      <pc:sldChg chg="addSp delSp modSp add mod">
        <pc:chgData name="Nancy Underwood" userId="78c8db2d-409e-4ec7-a575-391289e3794c" providerId="ADAL" clId="{19BD958B-FF5B-47A9-A2FF-FAAED5FCE615}" dt="2021-02-16T13:29:16.016" v="48" actId="478"/>
        <pc:sldMkLst>
          <pc:docMk/>
          <pc:sldMk cId="2240686738" sldId="2076138147"/>
        </pc:sldMkLst>
        <pc:spChg chg="del">
          <ac:chgData name="Nancy Underwood" userId="78c8db2d-409e-4ec7-a575-391289e3794c" providerId="ADAL" clId="{19BD958B-FF5B-47A9-A2FF-FAAED5FCE615}" dt="2021-02-16T13:28:56.490" v="45" actId="478"/>
          <ac:spMkLst>
            <pc:docMk/>
            <pc:sldMk cId="2240686738" sldId="2076138147"/>
            <ac:spMk id="2" creationId="{E286ADF1-5A61-4F81-8EB6-95BD04421386}"/>
          </ac:spMkLst>
        </pc:spChg>
        <pc:spChg chg="add del mod">
          <ac:chgData name="Nancy Underwood" userId="78c8db2d-409e-4ec7-a575-391289e3794c" providerId="ADAL" clId="{19BD958B-FF5B-47A9-A2FF-FAAED5FCE615}" dt="2021-02-16T13:28:59.819" v="46" actId="478"/>
          <ac:spMkLst>
            <pc:docMk/>
            <pc:sldMk cId="2240686738" sldId="2076138147"/>
            <ac:spMk id="18" creationId="{61F006D5-3A92-419E-A122-6DC90BB06703}"/>
          </ac:spMkLst>
        </pc:spChg>
        <pc:spChg chg="del">
          <ac:chgData name="Nancy Underwood" userId="78c8db2d-409e-4ec7-a575-391289e3794c" providerId="ADAL" clId="{19BD958B-FF5B-47A9-A2FF-FAAED5FCE615}" dt="2021-02-16T13:29:13.380" v="47" actId="478"/>
          <ac:spMkLst>
            <pc:docMk/>
            <pc:sldMk cId="2240686738" sldId="2076138147"/>
            <ac:spMk id="29" creationId="{E6D39683-63F9-48F3-AAF3-02A7BDDE5AE5}"/>
          </ac:spMkLst>
        </pc:spChg>
        <pc:grpChg chg="del">
          <ac:chgData name="Nancy Underwood" userId="78c8db2d-409e-4ec7-a575-391289e3794c" providerId="ADAL" clId="{19BD958B-FF5B-47A9-A2FF-FAAED5FCE615}" dt="2021-02-16T13:29:16.016" v="48" actId="478"/>
          <ac:grpSpMkLst>
            <pc:docMk/>
            <pc:sldMk cId="2240686738" sldId="2076138147"/>
            <ac:grpSpMk id="31" creationId="{D4051771-36EE-47F0-BC98-D49BE8EAB19C}"/>
          </ac:grpSpMkLst>
        </pc:grpChg>
      </pc:sldChg>
    </pc:docChg>
  </pc:docChgLst>
  <pc:docChgLst>
    <pc:chgData name="Claire Nielsen" userId="ebf09baf-0b46-49dc-b5e4-5c911106321b" providerId="ADAL" clId="{07C79AB7-2754-40A2-840A-0E134F9EAA33}"/>
    <pc:docChg chg="addSld">
      <pc:chgData name="Claire Nielsen" userId="ebf09baf-0b46-49dc-b5e4-5c911106321b" providerId="ADAL" clId="{07C79AB7-2754-40A2-840A-0E134F9EAA33}" dt="2021-02-15T10:14:47.471" v="1" actId="22"/>
      <pc:docMkLst>
        <pc:docMk/>
      </pc:docMkLst>
      <pc:sldChg chg="add">
        <pc:chgData name="Claire Nielsen" userId="ebf09baf-0b46-49dc-b5e4-5c911106321b" providerId="ADAL" clId="{07C79AB7-2754-40A2-840A-0E134F9EAA33}" dt="2021-02-15T08:26:24.843" v="0" actId="22"/>
        <pc:sldMkLst>
          <pc:docMk/>
          <pc:sldMk cId="779777674" sldId="260"/>
        </pc:sldMkLst>
      </pc:sldChg>
      <pc:sldChg chg="add">
        <pc:chgData name="Claire Nielsen" userId="ebf09baf-0b46-49dc-b5e4-5c911106321b" providerId="ADAL" clId="{07C79AB7-2754-40A2-840A-0E134F9EAA33}" dt="2021-02-15T10:14:47.471" v="1" actId="22"/>
        <pc:sldMkLst>
          <pc:docMk/>
          <pc:sldMk cId="2492824086" sldId="262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svg"/><Relationship Id="rId1" Type="http://schemas.openxmlformats.org/officeDocument/2006/relationships/image" Target="../media/image1.png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61635B-B30E-47EF-BAE5-695CDD02133F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41C367C2-0FAE-4CD1-B510-D95507ADB298}">
      <dgm:prSet/>
      <dgm:spPr/>
      <dgm:t>
        <a:bodyPr/>
        <a:lstStyle/>
        <a:p>
          <a:r>
            <a:rPr lang="ar-sa">
              <a:rtl/>
            </a:rPr>
            <a:t>تسجيل الاشتراك في </a:t>
          </a:r>
          <a:r>
            <a:rPr lang="ar-sa">
              <a:rtl val="0"/>
            </a:rPr>
            <a:t>Azure DevOps</a:t>
          </a:r>
          <a:r>
            <a:rPr lang="ar-sa">
              <a:rtl/>
            </a:rPr>
            <a:t> وإنشاء مشروع للترقية</a:t>
          </a:r>
        </a:p>
      </dgm:t>
    </dgm:pt>
    <dgm:pt modelId="{62D78201-529A-4E00-AEC0-B770188335DE}" type="parTrans" cxnId="{42A3ABC8-8A3C-4697-8FF9-F9202B4D0F91}">
      <dgm:prSet/>
      <dgm:spPr/>
      <dgm:t>
        <a:bodyPr/>
        <a:lstStyle/>
        <a:p>
          <a:endParaRPr lang="en-US"/>
        </a:p>
      </dgm:t>
    </dgm:pt>
    <dgm:pt modelId="{2FDECF3C-7756-4711-9AEE-885BB2C87DB6}" type="sibTrans" cxnId="{42A3ABC8-8A3C-4697-8FF9-F9202B4D0F91}">
      <dgm:prSet/>
      <dgm:spPr/>
      <dgm:t>
        <a:bodyPr/>
        <a:lstStyle/>
        <a:p>
          <a:endParaRPr lang="en-US"/>
        </a:p>
      </dgm:t>
    </dgm:pt>
    <dgm:pt modelId="{C38F69CE-E13C-431F-B31B-5A832F25034E}">
      <dgm:prSet/>
      <dgm:spPr/>
      <dgm:t>
        <a:bodyPr/>
        <a:lstStyle/>
        <a:p>
          <a:r>
            <a:rPr lang="ar-sa">
              <a:rtl/>
            </a:rPr>
            <a:t>تكوين الارتباط إلى مشروع </a:t>
          </a:r>
          <a:r>
            <a:rPr lang="ar-sa">
              <a:rtl val="0"/>
            </a:rPr>
            <a:t>Azure DevOps</a:t>
          </a:r>
          <a:r>
            <a:rPr lang="ar-sa">
              <a:rtl/>
            </a:rPr>
            <a:t> الخاص بك في </a:t>
          </a:r>
          <a:r>
            <a:rPr lang="ar-sa">
              <a:rtl val="0"/>
            </a:rPr>
            <a:t>LCS</a:t>
          </a:r>
        </a:p>
      </dgm:t>
    </dgm:pt>
    <dgm:pt modelId="{09B20D82-F208-41AE-8F50-9C8111425A0D}" type="parTrans" cxnId="{FD964CAD-F0BD-4E90-82D5-CC54CC589DA7}">
      <dgm:prSet/>
      <dgm:spPr/>
      <dgm:t>
        <a:bodyPr/>
        <a:lstStyle/>
        <a:p>
          <a:endParaRPr lang="en-US"/>
        </a:p>
      </dgm:t>
    </dgm:pt>
    <dgm:pt modelId="{0A86D609-3AD1-45AD-BEAE-A89FF5387EE6}" type="sibTrans" cxnId="{FD964CAD-F0BD-4E90-82D5-CC54CC589DA7}">
      <dgm:prSet/>
      <dgm:spPr/>
      <dgm:t>
        <a:bodyPr/>
        <a:lstStyle/>
        <a:p>
          <a:endParaRPr lang="en-US"/>
        </a:p>
      </dgm:t>
    </dgm:pt>
    <dgm:pt modelId="{A9C49717-BC4E-40C7-A8F6-D49417F50F65}">
      <dgm:prSet/>
      <dgm:spPr/>
      <dgm:t>
        <a:bodyPr/>
        <a:lstStyle/>
        <a:p>
          <a:r>
            <a:rPr lang="ar-sa" dirty="0">
              <a:rtl/>
            </a:rPr>
            <a:t>تصدير مخزن النماذج إلى </a:t>
          </a:r>
          <a:r>
            <a:rPr lang="ar-sa" dirty="0">
              <a:rtl val="0"/>
            </a:rPr>
            <a:t>LCS</a:t>
          </a:r>
          <a:r>
            <a:rPr lang="ar-sa" dirty="0">
              <a:rtl/>
            </a:rPr>
            <a:t> وتشغيل خدمة ترقية الرموز</a:t>
          </a:r>
        </a:p>
      </dgm:t>
    </dgm:pt>
    <dgm:pt modelId="{8C1389D5-8193-4ABE-9592-751466141A6C}" type="parTrans" cxnId="{1B1E9F9D-313A-4363-8471-F970899EE4C4}">
      <dgm:prSet/>
      <dgm:spPr/>
      <dgm:t>
        <a:bodyPr/>
        <a:lstStyle/>
        <a:p>
          <a:endParaRPr lang="en-US"/>
        </a:p>
      </dgm:t>
    </dgm:pt>
    <dgm:pt modelId="{892B4C35-3E8F-4745-A779-0345A5E8233C}" type="sibTrans" cxnId="{1B1E9F9D-313A-4363-8471-F970899EE4C4}">
      <dgm:prSet/>
      <dgm:spPr/>
      <dgm:t>
        <a:bodyPr/>
        <a:lstStyle/>
        <a:p>
          <a:endParaRPr lang="en-US"/>
        </a:p>
      </dgm:t>
    </dgm:pt>
    <dgm:pt modelId="{5094EF71-45AE-4F2C-9A20-2D34784CBE06}">
      <dgm:prSet/>
      <dgm:spPr/>
      <dgm:t>
        <a:bodyPr/>
        <a:lstStyle/>
        <a:p>
          <a:r>
            <a:rPr lang="ar-sa">
              <a:rtl/>
            </a:rPr>
            <a:t>عرض تقارير المخرجات</a:t>
          </a:r>
        </a:p>
      </dgm:t>
    </dgm:pt>
    <dgm:pt modelId="{2CEF8567-8BB9-4E44-9DCD-9E6B133FA6EF}" type="parTrans" cxnId="{3C04EC4A-3487-4454-8B4A-AA0A3C62A5EC}">
      <dgm:prSet/>
      <dgm:spPr/>
      <dgm:t>
        <a:bodyPr/>
        <a:lstStyle/>
        <a:p>
          <a:endParaRPr lang="en-US"/>
        </a:p>
      </dgm:t>
    </dgm:pt>
    <dgm:pt modelId="{EE922089-2B23-45B2-A7E0-560CEC93ABED}" type="sibTrans" cxnId="{3C04EC4A-3487-4454-8B4A-AA0A3C62A5EC}">
      <dgm:prSet/>
      <dgm:spPr/>
      <dgm:t>
        <a:bodyPr/>
        <a:lstStyle/>
        <a:p>
          <a:endParaRPr lang="en-US"/>
        </a:p>
      </dgm:t>
    </dgm:pt>
    <dgm:pt modelId="{95774B55-6AB2-42B5-BA62-C2FBA48FC86F}" type="pres">
      <dgm:prSet presAssocID="{0961635B-B30E-47EF-BAE5-695CDD02133F}" presName="root" presStyleCnt="0">
        <dgm:presLayoutVars>
          <dgm:dir/>
          <dgm:resizeHandles val="exact"/>
        </dgm:presLayoutVars>
      </dgm:prSet>
      <dgm:spPr/>
    </dgm:pt>
    <dgm:pt modelId="{F2FE8B02-0BDC-44DC-B0D5-495185DD41C3}" type="pres">
      <dgm:prSet presAssocID="{41C367C2-0FAE-4CD1-B510-D95507ADB298}" presName="compNode" presStyleCnt="0"/>
      <dgm:spPr/>
    </dgm:pt>
    <dgm:pt modelId="{35BC102C-8199-4797-B688-DC4E01CDDA8D}" type="pres">
      <dgm:prSet presAssocID="{41C367C2-0FAE-4CD1-B510-D95507ADB29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2F8D7867-97FF-43FC-A279-800B27196059}" type="pres">
      <dgm:prSet presAssocID="{41C367C2-0FAE-4CD1-B510-D95507ADB298}" presName="spaceRect" presStyleCnt="0"/>
      <dgm:spPr/>
    </dgm:pt>
    <dgm:pt modelId="{DACE7ACD-FE35-4811-BAEE-96CBBC7C142B}" type="pres">
      <dgm:prSet presAssocID="{41C367C2-0FAE-4CD1-B510-D95507ADB298}" presName="textRect" presStyleLbl="revTx" presStyleIdx="0" presStyleCnt="4">
        <dgm:presLayoutVars>
          <dgm:chMax val="1"/>
          <dgm:chPref val="1"/>
        </dgm:presLayoutVars>
      </dgm:prSet>
      <dgm:spPr/>
    </dgm:pt>
    <dgm:pt modelId="{99F4272D-921C-402E-8B22-E0C2D67352FC}" type="pres">
      <dgm:prSet presAssocID="{2FDECF3C-7756-4711-9AEE-885BB2C87DB6}" presName="sibTrans" presStyleCnt="0"/>
      <dgm:spPr/>
    </dgm:pt>
    <dgm:pt modelId="{68D5FDFE-49D8-431F-8B07-0472A345668B}" type="pres">
      <dgm:prSet presAssocID="{C38F69CE-E13C-431F-B31B-5A832F25034E}" presName="compNode" presStyleCnt="0"/>
      <dgm:spPr/>
    </dgm:pt>
    <dgm:pt modelId="{AEF704AF-E330-426E-8A60-1DFC0DD02C02}" type="pres">
      <dgm:prSet presAssocID="{C38F69CE-E13C-431F-B31B-5A832F25034E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C42D3C67-9AA9-4586-BE7A-D2EFE697AA2A}" type="pres">
      <dgm:prSet presAssocID="{C38F69CE-E13C-431F-B31B-5A832F25034E}" presName="spaceRect" presStyleCnt="0"/>
      <dgm:spPr/>
    </dgm:pt>
    <dgm:pt modelId="{2DB48A81-B5F2-4EC0-B38A-1F83EAB4240B}" type="pres">
      <dgm:prSet presAssocID="{C38F69CE-E13C-431F-B31B-5A832F25034E}" presName="textRect" presStyleLbl="revTx" presStyleIdx="1" presStyleCnt="4">
        <dgm:presLayoutVars>
          <dgm:chMax val="1"/>
          <dgm:chPref val="1"/>
        </dgm:presLayoutVars>
      </dgm:prSet>
      <dgm:spPr/>
    </dgm:pt>
    <dgm:pt modelId="{ECC3CFE3-047F-435F-9CE5-6C9A96C73BCF}" type="pres">
      <dgm:prSet presAssocID="{0A86D609-3AD1-45AD-BEAE-A89FF5387EE6}" presName="sibTrans" presStyleCnt="0"/>
      <dgm:spPr/>
    </dgm:pt>
    <dgm:pt modelId="{8CF3312A-5F51-46FD-A3A8-2576059778B2}" type="pres">
      <dgm:prSet presAssocID="{A9C49717-BC4E-40C7-A8F6-D49417F50F65}" presName="compNode" presStyleCnt="0"/>
      <dgm:spPr/>
    </dgm:pt>
    <dgm:pt modelId="{888A0B70-3C66-4E3B-AA36-3FB72F497402}" type="pres">
      <dgm:prSet presAssocID="{A9C49717-BC4E-40C7-A8F6-D49417F50F6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ox"/>
        </a:ext>
      </dgm:extLst>
    </dgm:pt>
    <dgm:pt modelId="{DBCECF57-4884-40C1-BD90-456C4BB4CCEE}" type="pres">
      <dgm:prSet presAssocID="{A9C49717-BC4E-40C7-A8F6-D49417F50F65}" presName="spaceRect" presStyleCnt="0"/>
      <dgm:spPr/>
    </dgm:pt>
    <dgm:pt modelId="{1A3B0F74-8E03-4B65-BB96-9C6421518913}" type="pres">
      <dgm:prSet presAssocID="{A9C49717-BC4E-40C7-A8F6-D49417F50F65}" presName="textRect" presStyleLbl="revTx" presStyleIdx="2" presStyleCnt="4">
        <dgm:presLayoutVars>
          <dgm:chMax val="1"/>
          <dgm:chPref val="1"/>
        </dgm:presLayoutVars>
      </dgm:prSet>
      <dgm:spPr/>
    </dgm:pt>
    <dgm:pt modelId="{7777212C-A54A-4A17-8AB1-8084D8F8AA5B}" type="pres">
      <dgm:prSet presAssocID="{892B4C35-3E8F-4745-A779-0345A5E8233C}" presName="sibTrans" presStyleCnt="0"/>
      <dgm:spPr/>
    </dgm:pt>
    <dgm:pt modelId="{A5BD4C5B-CDC6-4D13-8936-30FC89A61F8F}" type="pres">
      <dgm:prSet presAssocID="{5094EF71-45AE-4F2C-9A20-2D34784CBE06}" presName="compNode" presStyleCnt="0"/>
      <dgm:spPr/>
    </dgm:pt>
    <dgm:pt modelId="{0E4C4982-E4B4-4A85-90C2-7A4BD1389220}" type="pres">
      <dgm:prSet presAssocID="{5094EF71-45AE-4F2C-9A20-2D34784CBE06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D716CD66-5C19-4C97-A235-CAF6D9E2ECD4}" type="pres">
      <dgm:prSet presAssocID="{5094EF71-45AE-4F2C-9A20-2D34784CBE06}" presName="spaceRect" presStyleCnt="0"/>
      <dgm:spPr/>
    </dgm:pt>
    <dgm:pt modelId="{DF52C503-BF24-43C8-A0EF-1591213D6FAB}" type="pres">
      <dgm:prSet presAssocID="{5094EF71-45AE-4F2C-9A20-2D34784CBE06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940CBA04-5DBD-409E-A617-655941CAC2CE}" type="presOf" srcId="{A9C49717-BC4E-40C7-A8F6-D49417F50F65}" destId="{1A3B0F74-8E03-4B65-BB96-9C6421518913}" srcOrd="0" destOrd="0" presId="urn:microsoft.com/office/officeart/2018/2/layout/IconLabelList"/>
    <dgm:cxn modelId="{C7C92066-8A2C-46B8-A91A-C1EA751DC9C3}" type="presOf" srcId="{5094EF71-45AE-4F2C-9A20-2D34784CBE06}" destId="{DF52C503-BF24-43C8-A0EF-1591213D6FAB}" srcOrd="0" destOrd="0" presId="urn:microsoft.com/office/officeart/2018/2/layout/IconLabelList"/>
    <dgm:cxn modelId="{3C04EC4A-3487-4454-8B4A-AA0A3C62A5EC}" srcId="{0961635B-B30E-47EF-BAE5-695CDD02133F}" destId="{5094EF71-45AE-4F2C-9A20-2D34784CBE06}" srcOrd="3" destOrd="0" parTransId="{2CEF8567-8BB9-4E44-9DCD-9E6B133FA6EF}" sibTransId="{EE922089-2B23-45B2-A7E0-560CEC93ABED}"/>
    <dgm:cxn modelId="{1B1E9F9D-313A-4363-8471-F970899EE4C4}" srcId="{0961635B-B30E-47EF-BAE5-695CDD02133F}" destId="{A9C49717-BC4E-40C7-A8F6-D49417F50F65}" srcOrd="2" destOrd="0" parTransId="{8C1389D5-8193-4ABE-9592-751466141A6C}" sibTransId="{892B4C35-3E8F-4745-A779-0345A5E8233C}"/>
    <dgm:cxn modelId="{CC69DFAB-3261-4136-BA5A-0F8FA22DF600}" type="presOf" srcId="{0961635B-B30E-47EF-BAE5-695CDD02133F}" destId="{95774B55-6AB2-42B5-BA62-C2FBA48FC86F}" srcOrd="0" destOrd="0" presId="urn:microsoft.com/office/officeart/2018/2/layout/IconLabelList"/>
    <dgm:cxn modelId="{2DE4F3AB-C090-47E1-A239-8F426AE23613}" type="presOf" srcId="{41C367C2-0FAE-4CD1-B510-D95507ADB298}" destId="{DACE7ACD-FE35-4811-BAEE-96CBBC7C142B}" srcOrd="0" destOrd="0" presId="urn:microsoft.com/office/officeart/2018/2/layout/IconLabelList"/>
    <dgm:cxn modelId="{FD964CAD-F0BD-4E90-82D5-CC54CC589DA7}" srcId="{0961635B-B30E-47EF-BAE5-695CDD02133F}" destId="{C38F69CE-E13C-431F-B31B-5A832F25034E}" srcOrd="1" destOrd="0" parTransId="{09B20D82-F208-41AE-8F50-9C8111425A0D}" sibTransId="{0A86D609-3AD1-45AD-BEAE-A89FF5387EE6}"/>
    <dgm:cxn modelId="{42A3ABC8-8A3C-4697-8FF9-F9202B4D0F91}" srcId="{0961635B-B30E-47EF-BAE5-695CDD02133F}" destId="{41C367C2-0FAE-4CD1-B510-D95507ADB298}" srcOrd="0" destOrd="0" parTransId="{62D78201-529A-4E00-AEC0-B770188335DE}" sibTransId="{2FDECF3C-7756-4711-9AEE-885BB2C87DB6}"/>
    <dgm:cxn modelId="{80AEFCD0-D284-4644-A213-D3DB46E482D7}" type="presOf" srcId="{C38F69CE-E13C-431F-B31B-5A832F25034E}" destId="{2DB48A81-B5F2-4EC0-B38A-1F83EAB4240B}" srcOrd="0" destOrd="0" presId="urn:microsoft.com/office/officeart/2018/2/layout/IconLabelList"/>
    <dgm:cxn modelId="{F16F716F-0253-4E25-A6D7-265E0A70736C}" type="presParOf" srcId="{95774B55-6AB2-42B5-BA62-C2FBA48FC86F}" destId="{F2FE8B02-0BDC-44DC-B0D5-495185DD41C3}" srcOrd="0" destOrd="0" presId="urn:microsoft.com/office/officeart/2018/2/layout/IconLabelList"/>
    <dgm:cxn modelId="{22FC7CFE-C36D-44A8-932E-D13F09D53EBB}" type="presParOf" srcId="{F2FE8B02-0BDC-44DC-B0D5-495185DD41C3}" destId="{35BC102C-8199-4797-B688-DC4E01CDDA8D}" srcOrd="0" destOrd="0" presId="urn:microsoft.com/office/officeart/2018/2/layout/IconLabelList"/>
    <dgm:cxn modelId="{DC48A4E2-8B0F-41C9-98BD-26EE017142F2}" type="presParOf" srcId="{F2FE8B02-0BDC-44DC-B0D5-495185DD41C3}" destId="{2F8D7867-97FF-43FC-A279-800B27196059}" srcOrd="1" destOrd="0" presId="urn:microsoft.com/office/officeart/2018/2/layout/IconLabelList"/>
    <dgm:cxn modelId="{2468642B-BF39-42A8-BCCB-DFAD50E309CD}" type="presParOf" srcId="{F2FE8B02-0BDC-44DC-B0D5-495185DD41C3}" destId="{DACE7ACD-FE35-4811-BAEE-96CBBC7C142B}" srcOrd="2" destOrd="0" presId="urn:microsoft.com/office/officeart/2018/2/layout/IconLabelList"/>
    <dgm:cxn modelId="{27E27433-1F90-4BB5-AC2C-7AD8B96A053F}" type="presParOf" srcId="{95774B55-6AB2-42B5-BA62-C2FBA48FC86F}" destId="{99F4272D-921C-402E-8B22-E0C2D67352FC}" srcOrd="1" destOrd="0" presId="urn:microsoft.com/office/officeart/2018/2/layout/IconLabelList"/>
    <dgm:cxn modelId="{A1DDA7C0-761F-4112-9985-A55E524E7D5E}" type="presParOf" srcId="{95774B55-6AB2-42B5-BA62-C2FBA48FC86F}" destId="{68D5FDFE-49D8-431F-8B07-0472A345668B}" srcOrd="2" destOrd="0" presId="urn:microsoft.com/office/officeart/2018/2/layout/IconLabelList"/>
    <dgm:cxn modelId="{30195AFC-E286-40C8-BFEC-CA85ABC64D41}" type="presParOf" srcId="{68D5FDFE-49D8-431F-8B07-0472A345668B}" destId="{AEF704AF-E330-426E-8A60-1DFC0DD02C02}" srcOrd="0" destOrd="0" presId="urn:microsoft.com/office/officeart/2018/2/layout/IconLabelList"/>
    <dgm:cxn modelId="{DEAB0F49-0A00-4DDC-97C3-79FD66FB21F2}" type="presParOf" srcId="{68D5FDFE-49D8-431F-8B07-0472A345668B}" destId="{C42D3C67-9AA9-4586-BE7A-D2EFE697AA2A}" srcOrd="1" destOrd="0" presId="urn:microsoft.com/office/officeart/2018/2/layout/IconLabelList"/>
    <dgm:cxn modelId="{6D0224B7-02DB-4A99-A96A-D5DA2EFF471F}" type="presParOf" srcId="{68D5FDFE-49D8-431F-8B07-0472A345668B}" destId="{2DB48A81-B5F2-4EC0-B38A-1F83EAB4240B}" srcOrd="2" destOrd="0" presId="urn:microsoft.com/office/officeart/2018/2/layout/IconLabelList"/>
    <dgm:cxn modelId="{8FA407C3-A80D-4698-AFBC-0223A87E6873}" type="presParOf" srcId="{95774B55-6AB2-42B5-BA62-C2FBA48FC86F}" destId="{ECC3CFE3-047F-435F-9CE5-6C9A96C73BCF}" srcOrd="3" destOrd="0" presId="urn:microsoft.com/office/officeart/2018/2/layout/IconLabelList"/>
    <dgm:cxn modelId="{9CD47BB5-D8D2-4608-B9D1-CA1AACA5F706}" type="presParOf" srcId="{95774B55-6AB2-42B5-BA62-C2FBA48FC86F}" destId="{8CF3312A-5F51-46FD-A3A8-2576059778B2}" srcOrd="4" destOrd="0" presId="urn:microsoft.com/office/officeart/2018/2/layout/IconLabelList"/>
    <dgm:cxn modelId="{1C730679-F754-4DDC-9621-BC939956854B}" type="presParOf" srcId="{8CF3312A-5F51-46FD-A3A8-2576059778B2}" destId="{888A0B70-3C66-4E3B-AA36-3FB72F497402}" srcOrd="0" destOrd="0" presId="urn:microsoft.com/office/officeart/2018/2/layout/IconLabelList"/>
    <dgm:cxn modelId="{B77D519E-CF6A-4BEE-B22F-C9435E6B9585}" type="presParOf" srcId="{8CF3312A-5F51-46FD-A3A8-2576059778B2}" destId="{DBCECF57-4884-40C1-BD90-456C4BB4CCEE}" srcOrd="1" destOrd="0" presId="urn:microsoft.com/office/officeart/2018/2/layout/IconLabelList"/>
    <dgm:cxn modelId="{4F23B7FC-86D1-4A85-BC0E-0CA3D873E304}" type="presParOf" srcId="{8CF3312A-5F51-46FD-A3A8-2576059778B2}" destId="{1A3B0F74-8E03-4B65-BB96-9C6421518913}" srcOrd="2" destOrd="0" presId="urn:microsoft.com/office/officeart/2018/2/layout/IconLabelList"/>
    <dgm:cxn modelId="{B2A8A969-515D-4CA7-A6E1-F1CB47D2DA8B}" type="presParOf" srcId="{95774B55-6AB2-42B5-BA62-C2FBA48FC86F}" destId="{7777212C-A54A-4A17-8AB1-8084D8F8AA5B}" srcOrd="5" destOrd="0" presId="urn:microsoft.com/office/officeart/2018/2/layout/IconLabelList"/>
    <dgm:cxn modelId="{1935D71C-1117-404F-8EF7-6C8F5B5FAFAB}" type="presParOf" srcId="{95774B55-6AB2-42B5-BA62-C2FBA48FC86F}" destId="{A5BD4C5B-CDC6-4D13-8936-30FC89A61F8F}" srcOrd="6" destOrd="0" presId="urn:microsoft.com/office/officeart/2018/2/layout/IconLabelList"/>
    <dgm:cxn modelId="{E04E7C5C-1D60-41EC-A3A3-DB2A36E801C4}" type="presParOf" srcId="{A5BD4C5B-CDC6-4D13-8936-30FC89A61F8F}" destId="{0E4C4982-E4B4-4A85-90C2-7A4BD1389220}" srcOrd="0" destOrd="0" presId="urn:microsoft.com/office/officeart/2018/2/layout/IconLabelList"/>
    <dgm:cxn modelId="{44FAADDB-28FD-4A32-9343-B152F8301DFF}" type="presParOf" srcId="{A5BD4C5B-CDC6-4D13-8936-30FC89A61F8F}" destId="{D716CD66-5C19-4C97-A235-CAF6D9E2ECD4}" srcOrd="1" destOrd="0" presId="urn:microsoft.com/office/officeart/2018/2/layout/IconLabelList"/>
    <dgm:cxn modelId="{F51E9847-BE6D-41CE-AC07-1713986A2D14}" type="presParOf" srcId="{A5BD4C5B-CDC6-4D13-8936-30FC89A61F8F}" destId="{DF52C503-BF24-43C8-A0EF-1591213D6FAB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BC102C-8199-4797-B688-DC4E01CDDA8D}">
      <dsp:nvSpPr>
        <dsp:cNvPr id="0" name=""/>
        <dsp:cNvSpPr/>
      </dsp:nvSpPr>
      <dsp:spPr>
        <a:xfrm>
          <a:off x="113497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CE7ACD-FE35-4811-BAEE-96CBBC7C142B}">
      <dsp:nvSpPr>
        <dsp:cNvPr id="0" name=""/>
        <dsp:cNvSpPr/>
      </dsp:nvSpPr>
      <dsp:spPr>
        <a:xfrm>
          <a:off x="56515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700" kern="1200">
              <a:rtl/>
            </a:rPr>
            <a:t>تسجيل الاشتراك في </a:t>
          </a:r>
          <a:r>
            <a:rPr lang="ar-sa" sz="1700" kern="1200">
              <a:rtl val="0"/>
            </a:rPr>
            <a:t>Azure DevOps</a:t>
          </a:r>
          <a:r>
            <a:rPr lang="ar-sa" sz="1700" kern="1200">
              <a:rtl/>
            </a:rPr>
            <a:t> وإنشاء مشروع للترقية</a:t>
          </a:r>
        </a:p>
      </dsp:txBody>
      <dsp:txXfrm>
        <a:off x="565154" y="2519824"/>
        <a:ext cx="2072076" cy="720000"/>
      </dsp:txXfrm>
    </dsp:sp>
    <dsp:sp modelId="{AEF704AF-E330-426E-8A60-1DFC0DD02C02}">
      <dsp:nvSpPr>
        <dsp:cNvPr id="0" name=""/>
        <dsp:cNvSpPr/>
      </dsp:nvSpPr>
      <dsp:spPr>
        <a:xfrm>
          <a:off x="356966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48A81-B5F2-4EC0-B38A-1F83EAB4240B}">
      <dsp:nvSpPr>
        <dsp:cNvPr id="0" name=""/>
        <dsp:cNvSpPr/>
      </dsp:nvSpPr>
      <dsp:spPr>
        <a:xfrm>
          <a:off x="299984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700" kern="1200">
              <a:rtl/>
            </a:rPr>
            <a:t>تكوين الارتباط إلى مشروع </a:t>
          </a:r>
          <a:r>
            <a:rPr lang="ar-sa" sz="1700" kern="1200">
              <a:rtl val="0"/>
            </a:rPr>
            <a:t>Azure DevOps</a:t>
          </a:r>
          <a:r>
            <a:rPr lang="ar-sa" sz="1700" kern="1200">
              <a:rtl/>
            </a:rPr>
            <a:t> الخاص بك في </a:t>
          </a:r>
          <a:r>
            <a:rPr lang="ar-sa" sz="1700" kern="1200">
              <a:rtl val="0"/>
            </a:rPr>
            <a:t>LCS</a:t>
          </a:r>
        </a:p>
      </dsp:txBody>
      <dsp:txXfrm>
        <a:off x="2999844" y="2519824"/>
        <a:ext cx="2072076" cy="720000"/>
      </dsp:txXfrm>
    </dsp:sp>
    <dsp:sp modelId="{888A0B70-3C66-4E3B-AA36-3FB72F497402}">
      <dsp:nvSpPr>
        <dsp:cNvPr id="0" name=""/>
        <dsp:cNvSpPr/>
      </dsp:nvSpPr>
      <dsp:spPr>
        <a:xfrm>
          <a:off x="6004355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3B0F74-8E03-4B65-BB96-9C6421518913}">
      <dsp:nvSpPr>
        <dsp:cNvPr id="0" name=""/>
        <dsp:cNvSpPr/>
      </dsp:nvSpPr>
      <dsp:spPr>
        <a:xfrm>
          <a:off x="543453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700" kern="1200" dirty="0">
              <a:rtl/>
            </a:rPr>
            <a:t>تصدير مخزن النماذج إلى </a:t>
          </a:r>
          <a:r>
            <a:rPr lang="ar-sa" sz="1700" kern="1200" dirty="0">
              <a:rtl val="0"/>
            </a:rPr>
            <a:t>LCS</a:t>
          </a:r>
          <a:r>
            <a:rPr lang="ar-sa" sz="1700" kern="1200" dirty="0">
              <a:rtl/>
            </a:rPr>
            <a:t> وتشغيل خدمة ترقية الرموز</a:t>
          </a:r>
        </a:p>
      </dsp:txBody>
      <dsp:txXfrm>
        <a:off x="5434534" y="2519824"/>
        <a:ext cx="2072076" cy="720000"/>
      </dsp:txXfrm>
    </dsp:sp>
    <dsp:sp modelId="{0E4C4982-E4B4-4A85-90C2-7A4BD1389220}">
      <dsp:nvSpPr>
        <dsp:cNvPr id="0" name=""/>
        <dsp:cNvSpPr/>
      </dsp:nvSpPr>
      <dsp:spPr>
        <a:xfrm>
          <a:off x="8439046" y="1295599"/>
          <a:ext cx="932434" cy="93243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52C503-BF24-43C8-A0EF-1591213D6FAB}">
      <dsp:nvSpPr>
        <dsp:cNvPr id="0" name=""/>
        <dsp:cNvSpPr/>
      </dsp:nvSpPr>
      <dsp:spPr>
        <a:xfrm>
          <a:off x="7869224" y="2519824"/>
          <a:ext cx="2072076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r-sa" sz="1700" kern="1200">
              <a:rtl/>
            </a:rPr>
            <a:t>عرض تقارير المخرجات</a:t>
          </a:r>
        </a:p>
      </dsp:txBody>
      <dsp:txXfrm>
        <a:off x="7869224" y="2519824"/>
        <a:ext cx="2072076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B2C472-1895-474A-9483-161222E4253B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A5DF2B-8CDB-485F-8D0A-9B893AEE6F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202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>
              <a:solidFill>
                <a:srgbClr val="17171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427A7F7-BB1E-479D-AFAA-B52F4D0C99F2}" type="datetime8">
              <a:rPr lang="en-US" smtClean="0"/>
              <a:t>10/20/2021 2:2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02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0/2021 2:2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186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0/20/2021 2:2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02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Summit Nashville 2017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30C0507-093E-47D0-9213-D2C7C69DDFD9}" type="datetime8">
              <a:rPr lang="en-US" smtClean="0"/>
              <a:t>10/20/2021 2:28 AM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© 2017 Dynamic Communit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4877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A5899-34D6-4B21-B3F1-5CBF9365C3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rtlCol="1" anchor="b"/>
          <a:lstStyle>
            <a:lvl1pPr algn="ct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6383DF-E696-4F9A-B113-C26CB982C5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1"/>
          <a:lstStyle>
            <a:lvl1pPr marL="0" indent="0" algn="ctr" rtl="1">
              <a:buNone/>
              <a:defRPr sz="2400"/>
            </a:lvl1pPr>
            <a:lvl2pPr marL="457200" indent="0" algn="ctr" rtl="1">
              <a:buNone/>
              <a:defRPr sz="2000"/>
            </a:lvl2pPr>
            <a:lvl3pPr marL="914400" indent="0" algn="ctr" rtl="1">
              <a:buNone/>
              <a:defRPr sz="1800"/>
            </a:lvl3pPr>
            <a:lvl4pPr marL="1371600" indent="0" algn="ctr" rtl="1">
              <a:buNone/>
              <a:defRPr sz="1600"/>
            </a:lvl4pPr>
            <a:lvl5pPr marL="1828800" indent="0" algn="ctr" rtl="1">
              <a:buNone/>
              <a:defRPr sz="1600"/>
            </a:lvl5pPr>
            <a:lvl6pPr marL="2286000" indent="0" algn="ctr" rtl="1">
              <a:buNone/>
              <a:defRPr sz="1600"/>
            </a:lvl6pPr>
            <a:lvl7pPr marL="2743200" indent="0" algn="ctr" rtl="1">
              <a:buNone/>
              <a:defRPr sz="1600"/>
            </a:lvl7pPr>
            <a:lvl8pPr marL="3200400" indent="0" algn="ctr" rtl="1">
              <a:buNone/>
              <a:defRPr sz="1600"/>
            </a:lvl8pPr>
            <a:lvl9pPr marL="3657600" indent="0" algn="ctr" rtl="1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D5BBD-05C9-44EA-937A-19A885FD2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B8FF1-4CCC-4823-BB04-7B154D0F3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13FF21-2C2C-417F-8B30-2EAC9CAD8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56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9C1EC2-8C0A-45EC-BED5-54D934AD8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6EA46D-3549-4993-AE47-950D962AD15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8399E-0EA7-456B-9FED-778A48E57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8CBAB3-C759-4A43-9016-E79DDAE13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1088C4-A545-484F-8FA4-6CA2F47D1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053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24565D-AC98-465B-94FF-82953DF058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AA3EA3-F65A-46AE-83F5-7BF043D8B9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504DEF-C5FC-4542-96F6-A8D5425B5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3F582-9FAF-4A8E-B6CD-109A7FB9C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963BC5-5E4B-40FF-8A4B-044D15660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49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73240-568F-4A14-9BB4-A1227E3AC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BDB05B-DBFB-4DFA-9298-602645FF76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0C0F6-FC03-41E1-8381-F4311422A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20767E-4643-48B8-BF39-5C2019F7B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0D3A24-72B4-4309-B1CB-B3AACACAD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17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D392E7-B0F5-4642-A4FA-4EC2BDEC4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rtlCol="1" anchor="b"/>
          <a:lstStyle>
            <a:lvl1pPr algn="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65474D-5693-4AA6-B255-FBD4E2F5C1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rtlCol="1"/>
          <a:lstStyle>
            <a:lvl1pPr marL="0" indent="0" algn="r" rtl="1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r" rtl="1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r" rtl="1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3BCF98-04F2-45F8-8C56-22581155F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F720A1-13D7-4FA5-A65D-0538051DD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9F96FA-2675-451D-A9E3-7B3BAE9F7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521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D6189-A79D-4122-A336-BDD845FBD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D359E4-BBC8-4874-911D-E54DEFB561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23E802-B4F9-46FE-95ED-915CD75137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24F0FF-4CFB-44CA-B983-EE0285230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9571D4-C4DF-48C6-9AAA-3C10DA39A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4662B8-A972-49B7-83F8-7FE61F2CD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527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8B89E8-7C8F-41A9-A7C0-DBE632DB8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BA7D1A-BE1D-4751-BD8E-1191FF63C8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9D0D5-5F8D-4F74-8687-94E5755D9B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EED799-38C3-40E2-BAE5-3ED729FF86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727D05-8163-4689-9E5F-2B976EE9C1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681402-DE7E-465D-9E17-3E72DDA57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357E80-E39D-4EA4-B85E-678AF8AAE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A0B36-1F27-454B-9BC4-36CEF83E1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054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C38E5-0E30-440B-9E96-D16937382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0B2E74-7491-4A86-8886-F1CDF5459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46175A-447B-434E-8D27-AE7D8024D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B45AF8-26B7-43E6-99B4-0327D785C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338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BCA018-7C3B-4FAB-9FC7-594AB9E09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FC2053-F10D-412B-A98D-FB4CCDF64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739503-FC5E-435E-A033-DB1B4ADE8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29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DDE41-EB2D-46C9-9F14-803583028E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DA9E8A-42CB-4DDA-81BD-DD7EA6FBAA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algn="r" rtl="1">
              <a:defRPr sz="3200"/>
            </a:lvl1pPr>
            <a:lvl2pPr algn="r" rtl="1">
              <a:defRPr sz="2800"/>
            </a:lvl2pPr>
            <a:lvl3pPr algn="r" rtl="1">
              <a:defRPr sz="2400"/>
            </a:lvl3pPr>
            <a:lvl4pPr algn="r" rtl="1">
              <a:defRPr sz="2000"/>
            </a:lvl4pPr>
            <a:lvl5pPr algn="r" rtl="1">
              <a:defRPr sz="2000"/>
            </a:lvl5pPr>
            <a:lvl6pPr algn="r" rtl="1">
              <a:defRPr sz="2000"/>
            </a:lvl6pPr>
            <a:lvl7pPr algn="r" rtl="1">
              <a:defRPr sz="2000"/>
            </a:lvl7pPr>
            <a:lvl8pPr algn="r" rtl="1">
              <a:defRPr sz="2000"/>
            </a:lvl8pPr>
            <a:lvl9pPr algn="r" rtl="1">
              <a:defRPr sz="2000"/>
            </a:lvl9pPr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5C4192-D94C-4A4E-A899-ED095B8695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CE4AEB-E97C-4E2E-BBF7-7F84FBC59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4D4D6D-ECB9-4C5F-B4CA-CB1125899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667A60-7021-4F3C-889B-CCE7503B5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88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51BFE-199A-4829-9804-911C1C4F7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C50409-E994-4269-8AFD-E31D695465A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marL="0" indent="0" algn="r" rtl="1">
              <a:buNone/>
              <a:defRPr sz="3200"/>
            </a:lvl1pPr>
            <a:lvl2pPr marL="457200" indent="0" algn="r" rtl="1">
              <a:buNone/>
              <a:defRPr sz="2800"/>
            </a:lvl2pPr>
            <a:lvl3pPr marL="914400" indent="0" algn="r" rtl="1">
              <a:buNone/>
              <a:defRPr sz="2400"/>
            </a:lvl3pPr>
            <a:lvl4pPr marL="1371600" indent="0" algn="r" rtl="1">
              <a:buNone/>
              <a:defRPr sz="2000"/>
            </a:lvl4pPr>
            <a:lvl5pPr marL="1828800" indent="0" algn="r" rtl="1">
              <a:buNone/>
              <a:defRPr sz="2000"/>
            </a:lvl5pPr>
            <a:lvl6pPr marL="2286000" indent="0" algn="r" rtl="1">
              <a:buNone/>
              <a:defRPr sz="2000"/>
            </a:lvl6pPr>
            <a:lvl7pPr marL="2743200" indent="0" algn="r" rtl="1">
              <a:buNone/>
              <a:defRPr sz="2000"/>
            </a:lvl7pPr>
            <a:lvl8pPr marL="3200400" indent="0" algn="r" rtl="1">
              <a:buNone/>
              <a:defRPr sz="2000"/>
            </a:lvl8pPr>
            <a:lvl9pPr marL="3657600" indent="0" algn="r" rtl="1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641DFB-E7A2-48B7-9E23-C3FD1D0A20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51609D-EB99-4AC4-BE84-055FB298D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B2759F-D56A-46C5-A49D-54F92B2CD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11CB2E-45AC-47DE-B695-88E251FE4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11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5AAB77-E715-4DE0-B94F-CB97DAE1E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AAFA64-2182-4B27-9E83-8E444FD94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96AF8-5A63-4FC2-AA17-2A70C6D2AB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11E69-9B57-4584-AB8E-705A8C0C9816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CB6637-889D-4CA3-9894-3ABCFD35B9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2CBF97-3FD9-4F40-BBFE-1183EF9CFF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6F3A97-8E88-4291-967F-EE29C2DA1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149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7301F447-EEF7-48F5-AF73-7566EE7F64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117410-A2A4-4085-9ADC-46744551D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2772" y="0"/>
            <a:ext cx="10506456" cy="1913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F74EB5-E547-4FB4-95F5-BCC788F3C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1512994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extBox 3">
            <a:extLst>
              <a:ext uri="{FF2B5EF4-FFF2-40B4-BE49-F238E27FC236}">
                <a16:creationId xmlns:a16="http://schemas.microsoft.com/office/drawing/2014/main" id="{4FB7B23E-6FA3-43EB-8B96-F91F6D3E27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9002756"/>
              </p:ext>
            </p:extLst>
          </p:nvPr>
        </p:nvGraphicFramePr>
        <p:xfrm>
          <a:off x="838200" y="1737360"/>
          <a:ext cx="10506456" cy="45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3506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id="{12776D1A-9DEB-4F7F-BA35-28E7E2D014AD}"/>
              </a:ext>
            </a:extLst>
          </p:cNvPr>
          <p:cNvSpPr/>
          <p:nvPr/>
        </p:nvSpPr>
        <p:spPr>
          <a:xfrm>
            <a:off x="1359483" y="1648992"/>
            <a:ext cx="2574017" cy="31940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382B36B-B5D7-466A-BF48-60D852306858}"/>
              </a:ext>
            </a:extLst>
          </p:cNvPr>
          <p:cNvSpPr/>
          <p:nvPr/>
        </p:nvSpPr>
        <p:spPr>
          <a:xfrm>
            <a:off x="3951214" y="1648992"/>
            <a:ext cx="2711097" cy="31940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441BB40-3634-45DC-BB9E-768E6D2E0351}"/>
              </a:ext>
            </a:extLst>
          </p:cNvPr>
          <p:cNvSpPr/>
          <p:nvPr/>
        </p:nvSpPr>
        <p:spPr>
          <a:xfrm>
            <a:off x="6426424" y="1648550"/>
            <a:ext cx="3908812" cy="3194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C6979B-A297-437F-968B-191BD670D30A}"/>
              </a:ext>
            </a:extLst>
          </p:cNvPr>
          <p:cNvSpPr/>
          <p:nvPr/>
        </p:nvSpPr>
        <p:spPr>
          <a:xfrm>
            <a:off x="1666918" y="1862223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Run Upgrade analysis: estimate AX 2012 preparation wor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F54503-88F0-404B-A1C5-B995846D896C}"/>
              </a:ext>
            </a:extLst>
          </p:cNvPr>
          <p:cNvSpPr/>
          <p:nvPr/>
        </p:nvSpPr>
        <p:spPr>
          <a:xfrm>
            <a:off x="1666918" y="2886351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Run code Upgrade:</a:t>
            </a:r>
            <a:r>
              <a:rPr lang="en-US" sz="900" dirty="0"/>
              <a:t> estimate the code upgrade work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31344C-F050-4280-B309-C975459AAAAA}"/>
              </a:ext>
            </a:extLst>
          </p:cNvPr>
          <p:cNvSpPr/>
          <p:nvPr/>
        </p:nvSpPr>
        <p:spPr>
          <a:xfrm>
            <a:off x="1666918" y="3910479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Deploy a demo environment in LCS and  fit-gap analysis</a:t>
            </a:r>
            <a:endParaRPr lang="en-US" sz="9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40851B-5DCA-43B5-B39D-5B14A5EA1A52}"/>
              </a:ext>
            </a:extLst>
          </p:cNvPr>
          <p:cNvSpPr/>
          <p:nvPr/>
        </p:nvSpPr>
        <p:spPr>
          <a:xfrm>
            <a:off x="372438" y="2886351"/>
            <a:ext cx="863969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Lifecycle </a:t>
            </a:r>
          </a:p>
          <a:p>
            <a:pPr algn="ctr"/>
            <a:r>
              <a:rPr lang="es-MX" sz="900" dirty="0"/>
              <a:t>Services</a:t>
            </a:r>
          </a:p>
          <a:p>
            <a:pPr algn="ctr"/>
            <a:r>
              <a:rPr lang="es-MX" sz="900" dirty="0"/>
              <a:t>Sign-up </a:t>
            </a:r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06CA59-D600-4042-9323-1A688992D519}"/>
              </a:ext>
            </a:extLst>
          </p:cNvPr>
          <p:cNvSpPr/>
          <p:nvPr/>
        </p:nvSpPr>
        <p:spPr>
          <a:xfrm>
            <a:off x="3014667" y="2880001"/>
            <a:ext cx="795757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Create Project plan</a:t>
            </a:r>
            <a:endParaRPr lang="en-US" sz="9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43B040-8615-42AB-A2FF-73BD73C110EA}"/>
              </a:ext>
            </a:extLst>
          </p:cNvPr>
          <p:cNvSpPr/>
          <p:nvPr/>
        </p:nvSpPr>
        <p:spPr>
          <a:xfrm>
            <a:off x="4436468" y="1889457"/>
            <a:ext cx="783082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Perform AX 2012 preparation task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0D0FB6-41E9-4E90-BB32-EFE129DEEC2A}"/>
              </a:ext>
            </a:extLst>
          </p:cNvPr>
          <p:cNvSpPr/>
          <p:nvPr/>
        </p:nvSpPr>
        <p:spPr>
          <a:xfrm>
            <a:off x="4436468" y="2894528"/>
            <a:ext cx="783082" cy="6939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Perform code upgrade</a:t>
            </a:r>
            <a:endParaRPr lang="en-US" sz="9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D787E1-C9EE-4B95-BCDA-FF175056FF41}"/>
              </a:ext>
            </a:extLst>
          </p:cNvPr>
          <p:cNvSpPr/>
          <p:nvPr/>
        </p:nvSpPr>
        <p:spPr>
          <a:xfrm>
            <a:off x="4436468" y="3956509"/>
            <a:ext cx="783082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 Develop new code </a:t>
            </a:r>
            <a:endParaRPr lang="en-US" sz="9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01CD61-CEA4-4EC7-B8BD-F7CF6D19ADA0}"/>
              </a:ext>
            </a:extLst>
          </p:cNvPr>
          <p:cNvSpPr/>
          <p:nvPr/>
        </p:nvSpPr>
        <p:spPr>
          <a:xfrm>
            <a:off x="5920123" y="2869128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Data Upgrade in </a:t>
            </a:r>
            <a:r>
              <a:rPr lang="es-MX" sz="900" b="1" dirty="0"/>
              <a:t>Dev</a:t>
            </a:r>
            <a:r>
              <a:rPr lang="es-MX" sz="900" dirty="0"/>
              <a:t> environment and run Upgrade validation</a:t>
            </a:r>
            <a:endParaRPr lang="en-US" sz="9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0D6B10-49E5-423D-A729-AA22683606AA}"/>
              </a:ext>
            </a:extLst>
          </p:cNvPr>
          <p:cNvSpPr/>
          <p:nvPr/>
        </p:nvSpPr>
        <p:spPr>
          <a:xfrm>
            <a:off x="5920123" y="3948120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 Data Upgrade in </a:t>
            </a:r>
            <a:r>
              <a:rPr lang="es-MX" sz="900" b="1" dirty="0"/>
              <a:t>Sandbox</a:t>
            </a:r>
            <a:r>
              <a:rPr lang="es-MX" sz="900" dirty="0"/>
              <a:t> and run Upgrade validation </a:t>
            </a:r>
            <a:endParaRPr lang="en-US" sz="9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D633F2-AA7D-4F6A-A46B-DFC5811756CE}"/>
              </a:ext>
            </a:extLst>
          </p:cNvPr>
          <p:cNvSpPr/>
          <p:nvPr/>
        </p:nvSpPr>
        <p:spPr>
          <a:xfrm>
            <a:off x="7191734" y="2980126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Cutover testing </a:t>
            </a:r>
            <a:endParaRPr lang="en-US" sz="9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D4724D-3B02-4361-A026-EB6B406CFBB7}"/>
              </a:ext>
            </a:extLst>
          </p:cNvPr>
          <p:cNvSpPr/>
          <p:nvPr/>
        </p:nvSpPr>
        <p:spPr>
          <a:xfrm>
            <a:off x="8295081" y="2970234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Cutover plan </a:t>
            </a:r>
            <a:endParaRPr lang="en-US" sz="9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E3B555-BDCF-4377-A1C9-88BB53D01C04}"/>
              </a:ext>
            </a:extLst>
          </p:cNvPr>
          <p:cNvSpPr/>
          <p:nvPr/>
        </p:nvSpPr>
        <p:spPr>
          <a:xfrm>
            <a:off x="8295081" y="4071195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Full Functional test pass</a:t>
            </a:r>
            <a:endParaRPr lang="en-US" sz="9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989722-D79E-4DD4-97EA-352BA7B9D27F}"/>
              </a:ext>
            </a:extLst>
          </p:cNvPr>
          <p:cNvSpPr/>
          <p:nvPr/>
        </p:nvSpPr>
        <p:spPr>
          <a:xfrm>
            <a:off x="9379860" y="4081297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Pre-go-live checklist</a:t>
            </a:r>
            <a:endParaRPr lang="en-US" sz="9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A83C90-86E3-4379-8DBC-EB3F711A34E7}"/>
              </a:ext>
            </a:extLst>
          </p:cNvPr>
          <p:cNvSpPr/>
          <p:nvPr/>
        </p:nvSpPr>
        <p:spPr>
          <a:xfrm>
            <a:off x="10475548" y="4081297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Go-Live</a:t>
            </a:r>
            <a:endParaRPr lang="en-US" sz="900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3B703FB-56F3-482D-921A-3C551B35A72F}"/>
              </a:ext>
            </a:extLst>
          </p:cNvPr>
          <p:cNvCxnSpPr>
            <a:cxnSpLocks/>
            <a:stCxn id="7" idx="3"/>
            <a:endCxn id="5" idx="1"/>
          </p:cNvCxnSpPr>
          <p:nvPr/>
        </p:nvCxnSpPr>
        <p:spPr>
          <a:xfrm>
            <a:off x="1236407" y="3246015"/>
            <a:ext cx="43051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9D53369E-57A0-495E-A628-7614AF848C65}"/>
              </a:ext>
            </a:extLst>
          </p:cNvPr>
          <p:cNvCxnSpPr>
            <a:stCxn id="4" idx="1"/>
            <a:endCxn id="6" idx="1"/>
          </p:cNvCxnSpPr>
          <p:nvPr/>
        </p:nvCxnSpPr>
        <p:spPr>
          <a:xfrm rot="10800000" flipV="1">
            <a:off x="1666918" y="2221887"/>
            <a:ext cx="12700" cy="2048256"/>
          </a:xfrm>
          <a:prstGeom prst="bent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9E7A12A2-C40B-4E25-91C0-28ECDA1F44DC}"/>
              </a:ext>
            </a:extLst>
          </p:cNvPr>
          <p:cNvCxnSpPr>
            <a:stCxn id="4" idx="3"/>
            <a:endCxn id="6" idx="3"/>
          </p:cNvCxnSpPr>
          <p:nvPr/>
        </p:nvCxnSpPr>
        <p:spPr>
          <a:xfrm>
            <a:off x="2666662" y="2221887"/>
            <a:ext cx="12700" cy="2048256"/>
          </a:xfrm>
          <a:prstGeom prst="bentConnector3">
            <a:avLst>
              <a:gd name="adj1" fmla="val 9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1D44CCF-2D84-42A5-AA21-8135B795DE69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2666662" y="3239665"/>
            <a:ext cx="348005" cy="6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7850211-EF53-4B34-BAE1-374FB46CA0EA}"/>
              </a:ext>
            </a:extLst>
          </p:cNvPr>
          <p:cNvCxnSpPr>
            <a:cxnSpLocks/>
            <a:stCxn id="8" idx="3"/>
            <a:endCxn id="10" idx="1"/>
          </p:cNvCxnSpPr>
          <p:nvPr/>
        </p:nvCxnSpPr>
        <p:spPr>
          <a:xfrm>
            <a:off x="3810424" y="3239665"/>
            <a:ext cx="626044" cy="18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4F6C0E87-E702-4D9B-8BBC-7F748FCF5F0E}"/>
              </a:ext>
            </a:extLst>
          </p:cNvPr>
          <p:cNvCxnSpPr>
            <a:stCxn id="9" idx="1"/>
            <a:endCxn id="11" idx="1"/>
          </p:cNvCxnSpPr>
          <p:nvPr/>
        </p:nvCxnSpPr>
        <p:spPr>
          <a:xfrm rot="10800000" flipV="1">
            <a:off x="4436468" y="2249121"/>
            <a:ext cx="12700" cy="2067052"/>
          </a:xfrm>
          <a:prstGeom prst="bent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1D827F64-0CEE-4F75-9E9A-7EB0967BFE2C}"/>
              </a:ext>
            </a:extLst>
          </p:cNvPr>
          <p:cNvCxnSpPr>
            <a:cxnSpLocks/>
            <a:stCxn id="9" idx="3"/>
            <a:endCxn id="11" idx="3"/>
          </p:cNvCxnSpPr>
          <p:nvPr/>
        </p:nvCxnSpPr>
        <p:spPr>
          <a:xfrm>
            <a:off x="5219550" y="2249121"/>
            <a:ext cx="12700" cy="2067052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28F7ED5-05E7-4C03-9DFD-4BADBBECDD44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5219550" y="3241492"/>
            <a:ext cx="234950" cy="4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A6A4AAF-BE88-4BA2-A451-615465F1F68B}"/>
              </a:ext>
            </a:extLst>
          </p:cNvPr>
          <p:cNvCxnSpPr>
            <a:cxnSpLocks/>
          </p:cNvCxnSpPr>
          <p:nvPr/>
        </p:nvCxnSpPr>
        <p:spPr>
          <a:xfrm>
            <a:off x="5454500" y="3237355"/>
            <a:ext cx="4511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AEF9D612-6952-467A-B6EB-68A4B96F345D}"/>
              </a:ext>
            </a:extLst>
          </p:cNvPr>
          <p:cNvCxnSpPr>
            <a:stCxn id="12" idx="2"/>
            <a:endCxn id="13" idx="0"/>
          </p:cNvCxnSpPr>
          <p:nvPr/>
        </p:nvCxnSpPr>
        <p:spPr>
          <a:xfrm>
            <a:off x="6419995" y="3588456"/>
            <a:ext cx="0" cy="359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49191BC-4B27-4EBB-8C79-94061ADA40DD}"/>
              </a:ext>
            </a:extLst>
          </p:cNvPr>
          <p:cNvCxnSpPr>
            <a:cxnSpLocks/>
            <a:stCxn id="12" idx="3"/>
            <a:endCxn id="14" idx="1"/>
          </p:cNvCxnSpPr>
          <p:nvPr/>
        </p:nvCxnSpPr>
        <p:spPr>
          <a:xfrm>
            <a:off x="6919867" y="3228792"/>
            <a:ext cx="271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132D8B3-BC45-4448-8D09-4A3E92CCE2B0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7936793" y="3218900"/>
            <a:ext cx="3582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FF50DDB-79F9-448B-99E1-09F7FDAD89F1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8664397" y="3490037"/>
            <a:ext cx="0" cy="581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71224E0C-2BA0-4D12-84EF-6CEFAC2EC9F5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6926294" y="4319861"/>
            <a:ext cx="13687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5DCBBEC2-6F0B-4A96-ADB6-9CD22F257846}"/>
              </a:ext>
            </a:extLst>
          </p:cNvPr>
          <p:cNvCxnSpPr>
            <a:cxnSpLocks/>
          </p:cNvCxnSpPr>
          <p:nvPr/>
        </p:nvCxnSpPr>
        <p:spPr>
          <a:xfrm flipV="1">
            <a:off x="9030361" y="4329963"/>
            <a:ext cx="343072" cy="6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EF8972B-C8CB-4921-9CFF-EAB952794D56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10118492" y="4329963"/>
            <a:ext cx="3570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E1684E0D-6991-4A49-AF36-3BF027236111}"/>
              </a:ext>
            </a:extLst>
          </p:cNvPr>
          <p:cNvSpPr txBox="1"/>
          <p:nvPr/>
        </p:nvSpPr>
        <p:spPr>
          <a:xfrm>
            <a:off x="6469630" y="1677908"/>
            <a:ext cx="1854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 dirty="0">
                <a:solidFill>
                  <a:schemeClr val="accent1">
                    <a:lumMod val="75000"/>
                  </a:schemeClr>
                </a:solidFill>
              </a:rPr>
              <a:t>Validate</a:t>
            </a:r>
            <a:endParaRPr lang="en-US" sz="1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A158A67-A3DA-4CAE-94DD-22B9ECFD1FBB}"/>
              </a:ext>
            </a:extLst>
          </p:cNvPr>
          <p:cNvSpPr txBox="1"/>
          <p:nvPr/>
        </p:nvSpPr>
        <p:spPr>
          <a:xfrm>
            <a:off x="3982708" y="1663961"/>
            <a:ext cx="1854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 dirty="0">
                <a:solidFill>
                  <a:schemeClr val="accent1">
                    <a:lumMod val="75000"/>
                  </a:schemeClr>
                </a:solidFill>
              </a:rPr>
              <a:t>Execute</a:t>
            </a:r>
            <a:endParaRPr lang="en-US" sz="1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CB49FDA-9153-41CD-BCBF-CF52BF2108AC}"/>
              </a:ext>
            </a:extLst>
          </p:cNvPr>
          <p:cNvSpPr txBox="1"/>
          <p:nvPr/>
        </p:nvSpPr>
        <p:spPr>
          <a:xfrm>
            <a:off x="1353056" y="1632858"/>
            <a:ext cx="1854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 dirty="0">
                <a:solidFill>
                  <a:schemeClr val="accent1">
                    <a:lumMod val="75000"/>
                  </a:schemeClr>
                </a:solidFill>
              </a:rPr>
              <a:t>Analyze</a:t>
            </a:r>
            <a:endParaRPr lang="en-US" sz="1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AD2D9BE-72FF-430E-9519-9AC9133F536F}"/>
              </a:ext>
            </a:extLst>
          </p:cNvPr>
          <p:cNvSpPr txBox="1"/>
          <p:nvPr/>
        </p:nvSpPr>
        <p:spPr>
          <a:xfrm>
            <a:off x="309308" y="1325786"/>
            <a:ext cx="1854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accent1">
                    <a:lumMod val="75000"/>
                  </a:schemeClr>
                </a:solidFill>
              </a:rPr>
              <a:t>Evaluation</a:t>
            </a:r>
            <a:endParaRPr lang="en-US" sz="1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4C00A85-4351-473F-A7B4-18D8AA6E2083}"/>
              </a:ext>
            </a:extLst>
          </p:cNvPr>
          <p:cNvSpPr/>
          <p:nvPr/>
        </p:nvSpPr>
        <p:spPr>
          <a:xfrm>
            <a:off x="309308" y="1325786"/>
            <a:ext cx="3641906" cy="3716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6440F57-7EEE-4032-A70A-18005ED7242E}"/>
              </a:ext>
            </a:extLst>
          </p:cNvPr>
          <p:cNvSpPr/>
          <p:nvPr/>
        </p:nvSpPr>
        <p:spPr>
          <a:xfrm>
            <a:off x="3957641" y="1325786"/>
            <a:ext cx="7468165" cy="37161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D37EC7F-B7F1-43E2-ACFA-BC9656F4587C}"/>
              </a:ext>
            </a:extLst>
          </p:cNvPr>
          <p:cNvSpPr txBox="1"/>
          <p:nvPr/>
        </p:nvSpPr>
        <p:spPr>
          <a:xfrm>
            <a:off x="4091915" y="1358226"/>
            <a:ext cx="1854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Implementation</a:t>
            </a:r>
          </a:p>
        </p:txBody>
      </p:sp>
    </p:spTree>
    <p:extLst>
      <p:ext uri="{BB962C8B-B14F-4D97-AF65-F5344CB8AC3E}">
        <p14:creationId xmlns:p14="http://schemas.microsoft.com/office/powerpoint/2010/main" val="779777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4DB48C4-8209-4AA7-B4C7-216DDCC9C7F4}"/>
              </a:ext>
            </a:extLst>
          </p:cNvPr>
          <p:cNvSpPr/>
          <p:nvPr/>
        </p:nvSpPr>
        <p:spPr>
          <a:xfrm>
            <a:off x="4027173" y="2042833"/>
            <a:ext cx="3908812" cy="3194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5BD532-7CC0-4130-B3D4-775F90C258FB}"/>
              </a:ext>
            </a:extLst>
          </p:cNvPr>
          <p:cNvSpPr/>
          <p:nvPr/>
        </p:nvSpPr>
        <p:spPr>
          <a:xfrm>
            <a:off x="3520872" y="3263411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Data Upgrade in </a:t>
            </a:r>
            <a:r>
              <a:rPr lang="es-MX" sz="900" b="1" dirty="0"/>
              <a:t>Dev</a:t>
            </a:r>
            <a:r>
              <a:rPr lang="es-MX" sz="900" dirty="0"/>
              <a:t> environment and run Upgrade validation</a:t>
            </a:r>
            <a:endParaRPr lang="en-US" sz="9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4D733DA-4D61-47F3-97EC-DA66B576C037}"/>
              </a:ext>
            </a:extLst>
          </p:cNvPr>
          <p:cNvSpPr/>
          <p:nvPr/>
        </p:nvSpPr>
        <p:spPr>
          <a:xfrm>
            <a:off x="3520872" y="4342403"/>
            <a:ext cx="999744" cy="7193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Data Upgrade in </a:t>
            </a:r>
            <a:r>
              <a:rPr lang="es-MX" sz="900" b="1" dirty="0"/>
              <a:t>Sandbox</a:t>
            </a:r>
            <a:r>
              <a:rPr lang="es-MX" sz="900" dirty="0"/>
              <a:t> and run Upgrade validation </a:t>
            </a:r>
            <a:endParaRPr lang="en-US" sz="9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1196E1-AD95-4833-94B3-AC9F0A6E2ABB}"/>
              </a:ext>
            </a:extLst>
          </p:cNvPr>
          <p:cNvSpPr/>
          <p:nvPr/>
        </p:nvSpPr>
        <p:spPr>
          <a:xfrm>
            <a:off x="4792483" y="3374409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Cutover testing </a:t>
            </a:r>
            <a:endParaRPr lang="en-US" sz="9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C540BF-97EB-48A4-B1CD-5E1840A78FD3}"/>
              </a:ext>
            </a:extLst>
          </p:cNvPr>
          <p:cNvSpPr/>
          <p:nvPr/>
        </p:nvSpPr>
        <p:spPr>
          <a:xfrm>
            <a:off x="5895830" y="3364517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Cutover plan </a:t>
            </a:r>
            <a:endParaRPr lang="en-US" sz="9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4CD2C9E-156E-46B2-9ADF-13B0DB2D3164}"/>
              </a:ext>
            </a:extLst>
          </p:cNvPr>
          <p:cNvSpPr/>
          <p:nvPr/>
        </p:nvSpPr>
        <p:spPr>
          <a:xfrm>
            <a:off x="5895830" y="4465478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Full Functional test pass</a:t>
            </a:r>
            <a:endParaRPr lang="en-US" sz="9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C976DC-457E-414C-90D4-91BA3B418538}"/>
              </a:ext>
            </a:extLst>
          </p:cNvPr>
          <p:cNvSpPr/>
          <p:nvPr/>
        </p:nvSpPr>
        <p:spPr>
          <a:xfrm>
            <a:off x="6980609" y="4475580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Pre-go-live checklist</a:t>
            </a:r>
            <a:endParaRPr lang="en-US" sz="9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F190A2C-8864-4276-84EE-7C82F733CE2B}"/>
              </a:ext>
            </a:extLst>
          </p:cNvPr>
          <p:cNvSpPr/>
          <p:nvPr/>
        </p:nvSpPr>
        <p:spPr>
          <a:xfrm>
            <a:off x="8076297" y="4475580"/>
            <a:ext cx="738632" cy="497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/>
              <a:t>Go-Live</a:t>
            </a:r>
            <a:endParaRPr lang="en-US" sz="900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346FCEC-9ECB-4439-B279-8AB17D467831}"/>
              </a:ext>
            </a:extLst>
          </p:cNvPr>
          <p:cNvCxnSpPr>
            <a:stCxn id="20" idx="2"/>
            <a:endCxn id="21" idx="0"/>
          </p:cNvCxnSpPr>
          <p:nvPr/>
        </p:nvCxnSpPr>
        <p:spPr>
          <a:xfrm>
            <a:off x="4020744" y="3982739"/>
            <a:ext cx="0" cy="359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88AD110-3570-4E3A-8EFD-5406AE59291C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4520616" y="3623075"/>
            <a:ext cx="271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D13F84A-EB4A-4FBA-96BB-464380530E75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5537542" y="3613183"/>
            <a:ext cx="3582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3734802-9A08-47B3-86C1-5F0D6D28DFB9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6265146" y="3884320"/>
            <a:ext cx="0" cy="581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B2F5058-E7E6-4A6F-A50D-883D0703C760}"/>
              </a:ext>
            </a:extLst>
          </p:cNvPr>
          <p:cNvCxnSpPr>
            <a:cxnSpLocks/>
            <a:endCxn id="24" idx="1"/>
          </p:cNvCxnSpPr>
          <p:nvPr/>
        </p:nvCxnSpPr>
        <p:spPr>
          <a:xfrm>
            <a:off x="4527043" y="4714144"/>
            <a:ext cx="13687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CAF74AD-288C-41B8-A45E-76DF86672E38}"/>
              </a:ext>
            </a:extLst>
          </p:cNvPr>
          <p:cNvCxnSpPr>
            <a:cxnSpLocks/>
          </p:cNvCxnSpPr>
          <p:nvPr/>
        </p:nvCxnSpPr>
        <p:spPr>
          <a:xfrm flipV="1">
            <a:off x="6631110" y="4724246"/>
            <a:ext cx="343072" cy="6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DAFD6E3-44F2-4A63-99A8-8D909ADBB798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>
            <a:off x="7719241" y="4724246"/>
            <a:ext cx="3570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BA6366B-D2CF-4F89-BE67-58F7DC640335}"/>
              </a:ext>
            </a:extLst>
          </p:cNvPr>
          <p:cNvSpPr txBox="1"/>
          <p:nvPr/>
        </p:nvSpPr>
        <p:spPr>
          <a:xfrm>
            <a:off x="4090293" y="2126987"/>
            <a:ext cx="1854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accent1">
                    <a:lumMod val="75000"/>
                  </a:schemeClr>
                </a:solidFill>
              </a:rPr>
              <a:t>Validate</a:t>
            </a:r>
            <a:endParaRPr lang="en-US" sz="10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24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7CE5DE-63B3-4688-98AC-8F3A1C4FA2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7CE5DE-63B3-4688-98AC-8F3A1C4FA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9E58ED-364E-4A61-B935-367B09EF039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3B9948D-DC04-456A-BC3F-32818B69B8C6}"/>
              </a:ext>
            </a:extLst>
          </p:cNvPr>
          <p:cNvGrpSpPr/>
          <p:nvPr/>
        </p:nvGrpSpPr>
        <p:grpSpPr>
          <a:xfrm flipH="1">
            <a:off x="693358" y="1830990"/>
            <a:ext cx="10913425" cy="2504208"/>
            <a:chOff x="693358" y="1830990"/>
            <a:chExt cx="10913425" cy="2504208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FC96BBF-F6A8-41F0-B60E-655A7AB73811}"/>
                </a:ext>
              </a:extLst>
            </p:cNvPr>
            <p:cNvSpPr/>
            <p:nvPr/>
          </p:nvSpPr>
          <p:spPr bwMode="auto">
            <a:xfrm>
              <a:off x="856928" y="2328948"/>
              <a:ext cx="10749855" cy="1252090"/>
            </a:xfrm>
            <a:prstGeom prst="rect">
              <a:avLst/>
            </a:prstGeom>
            <a:noFill/>
            <a:ln w="6350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chemeClr val="bg1"/>
                </a:solidFill>
                <a:ea typeface="Segoe UI" pitchFamily="34" charset="0"/>
              </a:endParaRPr>
            </a:p>
          </p:txBody>
        </p:sp>
        <p:grpSp>
          <p:nvGrpSpPr>
            <p:cNvPr id="27" name="Graphic 471">
              <a:extLst>
                <a:ext uri="{FF2B5EF4-FFF2-40B4-BE49-F238E27FC236}">
                  <a16:creationId xmlns:a16="http://schemas.microsoft.com/office/drawing/2014/main" id="{74CA7F07-1B12-47AA-A941-BF4B3A201CA2}"/>
                </a:ext>
              </a:extLst>
            </p:cNvPr>
            <p:cNvGrpSpPr/>
            <p:nvPr/>
          </p:nvGrpSpPr>
          <p:grpSpPr>
            <a:xfrm>
              <a:off x="700363" y="4068188"/>
              <a:ext cx="310703" cy="267010"/>
              <a:chOff x="5913437" y="3235324"/>
              <a:chExt cx="609600" cy="523875"/>
            </a:xfrm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8C28D7-5DF4-4419-80CE-0F9C40C84C57}"/>
                  </a:ext>
                </a:extLst>
              </p:cNvPr>
              <p:cNvSpPr/>
              <p:nvPr/>
            </p:nvSpPr>
            <p:spPr>
              <a:xfrm>
                <a:off x="6131062" y="3479735"/>
                <a:ext cx="380639" cy="226123"/>
              </a:xfrm>
              <a:custGeom>
                <a:avLst/>
                <a:gdLst>
                  <a:gd name="connsiteX0" fmla="*/ 116 w 380639"/>
                  <a:gd name="connsiteY0" fmla="*/ 167069 h 226123"/>
                  <a:gd name="connsiteX1" fmla="*/ 60505 w 380639"/>
                  <a:gd name="connsiteY1" fmla="*/ 225838 h 226123"/>
                  <a:gd name="connsiteX2" fmla="*/ 60695 w 380639"/>
                  <a:gd name="connsiteY2" fmla="*/ 225838 h 226123"/>
                  <a:gd name="connsiteX3" fmla="*/ 60790 w 380639"/>
                  <a:gd name="connsiteY3" fmla="*/ 225838 h 226123"/>
                  <a:gd name="connsiteX4" fmla="*/ 64981 w 380639"/>
                  <a:gd name="connsiteY4" fmla="*/ 226124 h 226123"/>
                  <a:gd name="connsiteX5" fmla="*/ 318632 w 380639"/>
                  <a:gd name="connsiteY5" fmla="*/ 226124 h 226123"/>
                  <a:gd name="connsiteX6" fmla="*/ 330919 w 380639"/>
                  <a:gd name="connsiteY6" fmla="*/ 224790 h 226123"/>
                  <a:gd name="connsiteX7" fmla="*/ 331110 w 380639"/>
                  <a:gd name="connsiteY7" fmla="*/ 224790 h 226123"/>
                  <a:gd name="connsiteX8" fmla="*/ 331967 w 380639"/>
                  <a:gd name="connsiteY8" fmla="*/ 224695 h 226123"/>
                  <a:gd name="connsiteX9" fmla="*/ 380640 w 380639"/>
                  <a:gd name="connsiteY9" fmla="*/ 164116 h 226123"/>
                  <a:gd name="connsiteX10" fmla="*/ 351589 w 380639"/>
                  <a:gd name="connsiteY10" fmla="*/ 106490 h 226123"/>
                  <a:gd name="connsiteX11" fmla="*/ 350731 w 380639"/>
                  <a:gd name="connsiteY11" fmla="*/ 104870 h 226123"/>
                  <a:gd name="connsiteX12" fmla="*/ 350731 w 380639"/>
                  <a:gd name="connsiteY12" fmla="*/ 104584 h 226123"/>
                  <a:gd name="connsiteX13" fmla="*/ 277675 w 380639"/>
                  <a:gd name="connsiteY13" fmla="*/ 31432 h 226123"/>
                  <a:gd name="connsiteX14" fmla="*/ 256339 w 380639"/>
                  <a:gd name="connsiteY14" fmla="*/ 34481 h 226123"/>
                  <a:gd name="connsiteX15" fmla="*/ 254910 w 380639"/>
                  <a:gd name="connsiteY15" fmla="*/ 35052 h 226123"/>
                  <a:gd name="connsiteX16" fmla="*/ 251290 w 380639"/>
                  <a:gd name="connsiteY16" fmla="*/ 32766 h 226123"/>
                  <a:gd name="connsiteX17" fmla="*/ 251195 w 380639"/>
                  <a:gd name="connsiteY17" fmla="*/ 32671 h 226123"/>
                  <a:gd name="connsiteX18" fmla="*/ 250909 w 380639"/>
                  <a:gd name="connsiteY18" fmla="*/ 32385 h 226123"/>
                  <a:gd name="connsiteX19" fmla="*/ 190045 w 380639"/>
                  <a:gd name="connsiteY19" fmla="*/ 0 h 226123"/>
                  <a:gd name="connsiteX20" fmla="*/ 118512 w 380639"/>
                  <a:gd name="connsiteY20" fmla="*/ 58579 h 226123"/>
                  <a:gd name="connsiteX21" fmla="*/ 118226 w 380639"/>
                  <a:gd name="connsiteY21" fmla="*/ 59341 h 226123"/>
                  <a:gd name="connsiteX22" fmla="*/ 117655 w 380639"/>
                  <a:gd name="connsiteY22" fmla="*/ 66294 h 226123"/>
                  <a:gd name="connsiteX23" fmla="*/ 115654 w 380639"/>
                  <a:gd name="connsiteY23" fmla="*/ 68104 h 226123"/>
                  <a:gd name="connsiteX24" fmla="*/ 115083 w 380639"/>
                  <a:gd name="connsiteY24" fmla="*/ 68104 h 226123"/>
                  <a:gd name="connsiteX25" fmla="*/ 70792 w 380639"/>
                  <a:gd name="connsiteY25" fmla="*/ 86106 h 226123"/>
                  <a:gd name="connsiteX26" fmla="*/ 70601 w 380639"/>
                  <a:gd name="connsiteY26" fmla="*/ 86392 h 226123"/>
                  <a:gd name="connsiteX27" fmla="*/ 70220 w 380639"/>
                  <a:gd name="connsiteY27" fmla="*/ 86963 h 226123"/>
                  <a:gd name="connsiteX28" fmla="*/ 67458 w 380639"/>
                  <a:gd name="connsiteY28" fmla="*/ 90011 h 226123"/>
                  <a:gd name="connsiteX29" fmla="*/ 66029 w 380639"/>
                  <a:gd name="connsiteY29" fmla="*/ 90678 h 226123"/>
                  <a:gd name="connsiteX30" fmla="*/ 116 w 380639"/>
                  <a:gd name="connsiteY30" fmla="*/ 167069 h 226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80639" h="226123">
                    <a:moveTo>
                      <a:pt x="116" y="167069"/>
                    </a:moveTo>
                    <a:cubicBezTo>
                      <a:pt x="4117" y="197929"/>
                      <a:pt x="28691" y="222504"/>
                      <a:pt x="60505" y="225838"/>
                    </a:cubicBezTo>
                    <a:lnTo>
                      <a:pt x="60695" y="225838"/>
                    </a:lnTo>
                    <a:cubicBezTo>
                      <a:pt x="60695" y="225838"/>
                      <a:pt x="60790" y="225838"/>
                      <a:pt x="60790" y="225838"/>
                    </a:cubicBezTo>
                    <a:lnTo>
                      <a:pt x="64981" y="226124"/>
                    </a:lnTo>
                    <a:lnTo>
                      <a:pt x="318632" y="226124"/>
                    </a:lnTo>
                    <a:lnTo>
                      <a:pt x="330919" y="224790"/>
                    </a:lnTo>
                    <a:cubicBezTo>
                      <a:pt x="331015" y="224790"/>
                      <a:pt x="331015" y="224790"/>
                      <a:pt x="331110" y="224790"/>
                    </a:cubicBezTo>
                    <a:cubicBezTo>
                      <a:pt x="331396" y="224790"/>
                      <a:pt x="331681" y="224790"/>
                      <a:pt x="331967" y="224695"/>
                    </a:cubicBezTo>
                    <a:cubicBezTo>
                      <a:pt x="360161" y="218313"/>
                      <a:pt x="380640" y="192881"/>
                      <a:pt x="380640" y="164116"/>
                    </a:cubicBezTo>
                    <a:cubicBezTo>
                      <a:pt x="380640" y="142685"/>
                      <a:pt x="368162" y="117920"/>
                      <a:pt x="351589" y="106490"/>
                    </a:cubicBezTo>
                    <a:cubicBezTo>
                      <a:pt x="351017" y="106108"/>
                      <a:pt x="350731" y="105537"/>
                      <a:pt x="350731" y="104870"/>
                    </a:cubicBezTo>
                    <a:lnTo>
                      <a:pt x="350731" y="104584"/>
                    </a:lnTo>
                    <a:cubicBezTo>
                      <a:pt x="350731" y="64294"/>
                      <a:pt x="317965" y="31432"/>
                      <a:pt x="277675" y="31432"/>
                    </a:cubicBezTo>
                    <a:cubicBezTo>
                      <a:pt x="270721" y="31432"/>
                      <a:pt x="263578" y="32480"/>
                      <a:pt x="256339" y="34481"/>
                    </a:cubicBezTo>
                    <a:cubicBezTo>
                      <a:pt x="255958" y="34766"/>
                      <a:pt x="255481" y="35052"/>
                      <a:pt x="254910" y="35052"/>
                    </a:cubicBezTo>
                    <a:cubicBezTo>
                      <a:pt x="254148" y="35147"/>
                      <a:pt x="252529" y="34957"/>
                      <a:pt x="251290" y="32766"/>
                    </a:cubicBezTo>
                    <a:lnTo>
                      <a:pt x="251195" y="32671"/>
                    </a:lnTo>
                    <a:cubicBezTo>
                      <a:pt x="251100" y="32576"/>
                      <a:pt x="251005" y="32480"/>
                      <a:pt x="250909" y="32385"/>
                    </a:cubicBezTo>
                    <a:cubicBezTo>
                      <a:pt x="237193" y="12097"/>
                      <a:pt x="214429" y="0"/>
                      <a:pt x="190045" y="0"/>
                    </a:cubicBezTo>
                    <a:cubicBezTo>
                      <a:pt x="155469" y="0"/>
                      <a:pt x="125370" y="24670"/>
                      <a:pt x="118512" y="58579"/>
                    </a:cubicBezTo>
                    <a:cubicBezTo>
                      <a:pt x="118417" y="58865"/>
                      <a:pt x="118321" y="59055"/>
                      <a:pt x="118226" y="59341"/>
                    </a:cubicBezTo>
                    <a:lnTo>
                      <a:pt x="117655" y="66294"/>
                    </a:lnTo>
                    <a:cubicBezTo>
                      <a:pt x="117559" y="67342"/>
                      <a:pt x="116702" y="68104"/>
                      <a:pt x="115654" y="68104"/>
                    </a:cubicBezTo>
                    <a:lnTo>
                      <a:pt x="115083" y="68104"/>
                    </a:lnTo>
                    <a:cubicBezTo>
                      <a:pt x="98224" y="68104"/>
                      <a:pt x="82507" y="74486"/>
                      <a:pt x="70792" y="86106"/>
                    </a:cubicBezTo>
                    <a:cubicBezTo>
                      <a:pt x="70696" y="86201"/>
                      <a:pt x="70696" y="86297"/>
                      <a:pt x="70601" y="86392"/>
                    </a:cubicBezTo>
                    <a:cubicBezTo>
                      <a:pt x="70506" y="86582"/>
                      <a:pt x="70411" y="86773"/>
                      <a:pt x="70220" y="86963"/>
                    </a:cubicBezTo>
                    <a:lnTo>
                      <a:pt x="67458" y="90011"/>
                    </a:lnTo>
                    <a:cubicBezTo>
                      <a:pt x="67077" y="90392"/>
                      <a:pt x="66601" y="90678"/>
                      <a:pt x="66029" y="90678"/>
                    </a:cubicBezTo>
                    <a:cubicBezTo>
                      <a:pt x="35263" y="91059"/>
                      <a:pt x="-2360" y="106013"/>
                      <a:pt x="116" y="167069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269C45A-01CA-4F90-B4F1-37869FBB41DA}"/>
                  </a:ext>
                </a:extLst>
              </p:cNvPr>
              <p:cNvSpPr/>
              <p:nvPr/>
            </p:nvSpPr>
            <p:spPr>
              <a:xfrm>
                <a:off x="5990494" y="3734814"/>
                <a:ext cx="327088" cy="16573"/>
              </a:xfrm>
              <a:custGeom>
                <a:avLst/>
                <a:gdLst>
                  <a:gd name="connsiteX0" fmla="*/ 327089 w 327088"/>
                  <a:gd name="connsiteY0" fmla="*/ 0 h 16573"/>
                  <a:gd name="connsiteX1" fmla="*/ 327089 w 327088"/>
                  <a:gd name="connsiteY1" fmla="*/ 16574 h 16573"/>
                  <a:gd name="connsiteX2" fmla="*/ 0 w 327088"/>
                  <a:gd name="connsiteY2" fmla="*/ 16574 h 16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7088" h="16573">
                    <a:moveTo>
                      <a:pt x="327089" y="0"/>
                    </a:moveTo>
                    <a:lnTo>
                      <a:pt x="327089" y="16574"/>
                    </a:lnTo>
                    <a:lnTo>
                      <a:pt x="0" y="16574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CAC75EA-5864-46FB-ADE0-C312A323FF32}"/>
                  </a:ext>
                </a:extLst>
              </p:cNvPr>
              <p:cNvSpPr/>
              <p:nvPr/>
            </p:nvSpPr>
            <p:spPr>
              <a:xfrm>
                <a:off x="5970682" y="3296188"/>
                <a:ext cx="346900" cy="425005"/>
              </a:xfrm>
              <a:custGeom>
                <a:avLst/>
                <a:gdLst>
                  <a:gd name="connsiteX0" fmla="*/ 0 w 346900"/>
                  <a:gd name="connsiteY0" fmla="*/ 425006 h 425005"/>
                  <a:gd name="connsiteX1" fmla="*/ 0 w 346900"/>
                  <a:gd name="connsiteY1" fmla="*/ 0 h 425005"/>
                  <a:gd name="connsiteX2" fmla="*/ 346901 w 346900"/>
                  <a:gd name="connsiteY2" fmla="*/ 0 h 425005"/>
                  <a:gd name="connsiteX3" fmla="*/ 346901 w 346900"/>
                  <a:gd name="connsiteY3" fmla="*/ 139065 h 42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900" h="425005">
                    <a:moveTo>
                      <a:pt x="0" y="425006"/>
                    </a:moveTo>
                    <a:lnTo>
                      <a:pt x="0" y="0"/>
                    </a:lnTo>
                    <a:lnTo>
                      <a:pt x="346901" y="0"/>
                    </a:lnTo>
                    <a:lnTo>
                      <a:pt x="346901" y="139065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0D133E96-4B6A-4B9B-86E1-B10779C3336B}"/>
                  </a:ext>
                </a:extLst>
              </p:cNvPr>
              <p:cNvSpPr/>
              <p:nvPr/>
            </p:nvSpPr>
            <p:spPr>
              <a:xfrm>
                <a:off x="5922009" y="3243896"/>
                <a:ext cx="346995" cy="441769"/>
              </a:xfrm>
              <a:custGeom>
                <a:avLst/>
                <a:gdLst>
                  <a:gd name="connsiteX0" fmla="*/ 346996 w 346995"/>
                  <a:gd name="connsiteY0" fmla="*/ 52292 h 441769"/>
                  <a:gd name="connsiteX1" fmla="*/ 346996 w 346995"/>
                  <a:gd name="connsiteY1" fmla="*/ 0 h 441769"/>
                  <a:gd name="connsiteX2" fmla="*/ 0 w 346995"/>
                  <a:gd name="connsiteY2" fmla="*/ 0 h 441769"/>
                  <a:gd name="connsiteX3" fmla="*/ 0 w 346995"/>
                  <a:gd name="connsiteY3" fmla="*/ 441770 h 441769"/>
                  <a:gd name="connsiteX4" fmla="*/ 48673 w 346995"/>
                  <a:gd name="connsiteY4" fmla="*/ 441770 h 441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995" h="441769">
                    <a:moveTo>
                      <a:pt x="346996" y="52292"/>
                    </a:moveTo>
                    <a:lnTo>
                      <a:pt x="346996" y="0"/>
                    </a:lnTo>
                    <a:lnTo>
                      <a:pt x="0" y="0"/>
                    </a:lnTo>
                    <a:lnTo>
                      <a:pt x="0" y="441770"/>
                    </a:lnTo>
                    <a:lnTo>
                      <a:pt x="48673" y="44177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</p:grpSp>
        <p:grpSp>
          <p:nvGrpSpPr>
            <p:cNvPr id="33" name="Graphic 104">
              <a:extLst>
                <a:ext uri="{FF2B5EF4-FFF2-40B4-BE49-F238E27FC236}">
                  <a16:creationId xmlns:a16="http://schemas.microsoft.com/office/drawing/2014/main" id="{3B23B560-530D-4CAA-A247-C07675396A26}"/>
                </a:ext>
              </a:extLst>
            </p:cNvPr>
            <p:cNvGrpSpPr/>
            <p:nvPr/>
          </p:nvGrpSpPr>
          <p:grpSpPr>
            <a:xfrm>
              <a:off x="693358" y="1830990"/>
              <a:ext cx="324712" cy="237314"/>
              <a:chOff x="5751606" y="3163981"/>
              <a:chExt cx="934784" cy="683183"/>
            </a:xfrm>
            <a:noFill/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2B41CC4-8FDA-474E-B01F-02AFFAB2A061}"/>
                  </a:ext>
                </a:extLst>
              </p:cNvPr>
              <p:cNvSpPr/>
              <p:nvPr/>
            </p:nvSpPr>
            <p:spPr>
              <a:xfrm>
                <a:off x="5869526" y="3163981"/>
                <a:ext cx="816864" cy="446531"/>
              </a:xfrm>
              <a:custGeom>
                <a:avLst/>
                <a:gdLst>
                  <a:gd name="connsiteX0" fmla="*/ 115348 w 816864"/>
                  <a:gd name="connsiteY0" fmla="*/ 446532 h 446531"/>
                  <a:gd name="connsiteX1" fmla="*/ 0 w 816864"/>
                  <a:gd name="connsiteY1" fmla="*/ 325184 h 446531"/>
                  <a:gd name="connsiteX2" fmla="*/ 115348 w 816864"/>
                  <a:gd name="connsiteY2" fmla="*/ 206978 h 446531"/>
                  <a:gd name="connsiteX3" fmla="*/ 138112 w 816864"/>
                  <a:gd name="connsiteY3" fmla="*/ 210122 h 446531"/>
                  <a:gd name="connsiteX4" fmla="*/ 346139 w 816864"/>
                  <a:gd name="connsiteY4" fmla="*/ 0 h 446531"/>
                  <a:gd name="connsiteX5" fmla="*/ 548069 w 816864"/>
                  <a:gd name="connsiteY5" fmla="*/ 168021 h 446531"/>
                  <a:gd name="connsiteX6" fmla="*/ 660464 w 816864"/>
                  <a:gd name="connsiteY6" fmla="*/ 116681 h 446531"/>
                  <a:gd name="connsiteX7" fmla="*/ 816864 w 816864"/>
                  <a:gd name="connsiteY7" fmla="*/ 283178 h 446531"/>
                  <a:gd name="connsiteX8" fmla="*/ 660464 w 816864"/>
                  <a:gd name="connsiteY8" fmla="*/ 446532 h 446531"/>
                  <a:gd name="connsiteX9" fmla="*/ 660464 w 816864"/>
                  <a:gd name="connsiteY9" fmla="*/ 446532 h 446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6864" h="446531">
                    <a:moveTo>
                      <a:pt x="115348" y="446532"/>
                    </a:moveTo>
                    <a:cubicBezTo>
                      <a:pt x="51625" y="446532"/>
                      <a:pt x="0" y="392049"/>
                      <a:pt x="0" y="325184"/>
                    </a:cubicBezTo>
                    <a:cubicBezTo>
                      <a:pt x="0" y="258318"/>
                      <a:pt x="51625" y="206978"/>
                      <a:pt x="115348" y="206978"/>
                    </a:cubicBezTo>
                    <a:cubicBezTo>
                      <a:pt x="122968" y="206978"/>
                      <a:pt x="132017" y="206978"/>
                      <a:pt x="138112" y="210122"/>
                    </a:cubicBezTo>
                    <a:cubicBezTo>
                      <a:pt x="142685" y="93345"/>
                      <a:pt x="233744" y="0"/>
                      <a:pt x="346139" y="0"/>
                    </a:cubicBezTo>
                    <a:cubicBezTo>
                      <a:pt x="441770" y="0"/>
                      <a:pt x="523780" y="71533"/>
                      <a:pt x="548069" y="168021"/>
                    </a:cubicBezTo>
                    <a:cubicBezTo>
                      <a:pt x="576929" y="135350"/>
                      <a:pt x="616363" y="116681"/>
                      <a:pt x="660464" y="116681"/>
                    </a:cubicBezTo>
                    <a:cubicBezTo>
                      <a:pt x="747046" y="116681"/>
                      <a:pt x="816864" y="191357"/>
                      <a:pt x="816864" y="283178"/>
                    </a:cubicBezTo>
                    <a:cubicBezTo>
                      <a:pt x="816864" y="374999"/>
                      <a:pt x="747046" y="446532"/>
                      <a:pt x="660464" y="446532"/>
                    </a:cubicBezTo>
                    <a:lnTo>
                      <a:pt x="660464" y="446532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9DF8A2E-8FB8-4AE6-932B-E844CB23D06A}"/>
                  </a:ext>
                </a:extLst>
              </p:cNvPr>
              <p:cNvSpPr/>
              <p:nvPr/>
            </p:nvSpPr>
            <p:spPr>
              <a:xfrm>
                <a:off x="5926676" y="3506786"/>
                <a:ext cx="516826" cy="183070"/>
              </a:xfrm>
              <a:custGeom>
                <a:avLst/>
                <a:gdLst>
                  <a:gd name="connsiteX0" fmla="*/ 425291 w 516826"/>
                  <a:gd name="connsiteY0" fmla="*/ 0 h 183070"/>
                  <a:gd name="connsiteX1" fmla="*/ 516827 w 516826"/>
                  <a:gd name="connsiteY1" fmla="*/ 91535 h 183070"/>
                  <a:gd name="connsiteX2" fmla="*/ 425291 w 516826"/>
                  <a:gd name="connsiteY2" fmla="*/ 183071 h 183070"/>
                  <a:gd name="connsiteX3" fmla="*/ 0 w 516826"/>
                  <a:gd name="connsiteY3" fmla="*/ 183071 h 183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6826" h="183070">
                    <a:moveTo>
                      <a:pt x="425291" y="0"/>
                    </a:moveTo>
                    <a:cubicBezTo>
                      <a:pt x="475869" y="0"/>
                      <a:pt x="516827" y="40957"/>
                      <a:pt x="516827" y="91535"/>
                    </a:cubicBezTo>
                    <a:cubicBezTo>
                      <a:pt x="516827" y="142113"/>
                      <a:pt x="475869" y="183071"/>
                      <a:pt x="425291" y="183071"/>
                    </a:cubicBezTo>
                    <a:lnTo>
                      <a:pt x="0" y="183071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28CB655A-9985-47E2-9A6B-40A5B36E57F7}"/>
                  </a:ext>
                </a:extLst>
              </p:cNvPr>
              <p:cNvSpPr/>
              <p:nvPr/>
            </p:nvSpPr>
            <p:spPr>
              <a:xfrm>
                <a:off x="5751606" y="3572413"/>
                <a:ext cx="331374" cy="117347"/>
              </a:xfrm>
              <a:custGeom>
                <a:avLst/>
                <a:gdLst>
                  <a:gd name="connsiteX0" fmla="*/ 272701 w 331374"/>
                  <a:gd name="connsiteY0" fmla="*/ 0 h 117347"/>
                  <a:gd name="connsiteX1" fmla="*/ 331375 w 331374"/>
                  <a:gd name="connsiteY1" fmla="*/ 58674 h 117347"/>
                  <a:gd name="connsiteX2" fmla="*/ 272701 w 331374"/>
                  <a:gd name="connsiteY2" fmla="*/ 117348 h 117347"/>
                  <a:gd name="connsiteX3" fmla="*/ 0 w 331374"/>
                  <a:gd name="connsiteY3" fmla="*/ 117348 h 117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74" h="117347">
                    <a:moveTo>
                      <a:pt x="272701" y="0"/>
                    </a:moveTo>
                    <a:cubicBezTo>
                      <a:pt x="305086" y="0"/>
                      <a:pt x="331375" y="26289"/>
                      <a:pt x="331375" y="58674"/>
                    </a:cubicBezTo>
                    <a:cubicBezTo>
                      <a:pt x="331375" y="91059"/>
                      <a:pt x="305086" y="117348"/>
                      <a:pt x="272701" y="117348"/>
                    </a:cubicBezTo>
                    <a:lnTo>
                      <a:pt x="0" y="117348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30A0318C-8404-4417-A580-EFE30993CAB4}"/>
                  </a:ext>
                </a:extLst>
              </p:cNvPr>
              <p:cNvSpPr/>
              <p:nvPr/>
            </p:nvSpPr>
            <p:spPr>
              <a:xfrm>
                <a:off x="5968872" y="3729436"/>
                <a:ext cx="331373" cy="117728"/>
              </a:xfrm>
              <a:custGeom>
                <a:avLst/>
                <a:gdLst>
                  <a:gd name="connsiteX0" fmla="*/ 272701 w 331374"/>
                  <a:gd name="connsiteY0" fmla="*/ 117729 h 117728"/>
                  <a:gd name="connsiteX1" fmla="*/ 331375 w 331374"/>
                  <a:gd name="connsiteY1" fmla="*/ 58864 h 117728"/>
                  <a:gd name="connsiteX2" fmla="*/ 272701 w 331374"/>
                  <a:gd name="connsiteY2" fmla="*/ 0 h 117728"/>
                  <a:gd name="connsiteX3" fmla="*/ 0 w 331374"/>
                  <a:gd name="connsiteY3" fmla="*/ 0 h 11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1374" h="117728">
                    <a:moveTo>
                      <a:pt x="272701" y="117729"/>
                    </a:moveTo>
                    <a:cubicBezTo>
                      <a:pt x="305086" y="117729"/>
                      <a:pt x="331375" y="91345"/>
                      <a:pt x="331375" y="58864"/>
                    </a:cubicBezTo>
                    <a:cubicBezTo>
                      <a:pt x="331375" y="26289"/>
                      <a:pt x="305086" y="0"/>
                      <a:pt x="272701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rtl="1"/>
                <a:endParaRPr lang="en-US"/>
              </a:p>
            </p:txBody>
          </p:sp>
        </p:grp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E05A9EDB-FD59-47D6-95E9-24D07DA5A5AB}"/>
                </a:ext>
              </a:extLst>
            </p:cNvPr>
            <p:cNvSpPr/>
            <p:nvPr/>
          </p:nvSpPr>
          <p:spPr bwMode="auto">
            <a:xfrm>
              <a:off x="1121541" y="2737100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tx2"/>
                  </a:solidFill>
                  <a:latin typeface="+mj-lt"/>
                  <a:ea typeface="Segoe UI" pitchFamily="34" charset="0"/>
                  <a:rtl/>
                </a:rPr>
                <a:t>البدء</a:t>
              </a:r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1A3C771E-74B8-4ABB-B371-0D8882514B3B}"/>
                </a:ext>
              </a:extLst>
            </p:cNvPr>
            <p:cNvSpPr/>
            <p:nvPr/>
          </p:nvSpPr>
          <p:spPr bwMode="auto">
            <a:xfrm>
              <a:off x="10293351" y="2737100"/>
              <a:ext cx="1214064" cy="43578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tx2"/>
                  </a:solidFill>
                  <a:latin typeface="+mj-lt"/>
                  <a:ea typeface="Segoe UI" pitchFamily="34" charset="0"/>
                  <a:rtl/>
                </a:rPr>
                <a:t>الإنهاء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38C1FE61-06CE-496E-9351-D3AE52EBBB55}"/>
                </a:ext>
              </a:extLst>
            </p:cNvPr>
            <p:cNvSpPr/>
            <p:nvPr/>
          </p:nvSpPr>
          <p:spPr bwMode="auto">
            <a:xfrm>
              <a:off x="2873999" y="2438401"/>
              <a:ext cx="1316444" cy="103318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النسخ الاحتياطي لقاعدة بيانات </a:t>
              </a:r>
              <a:r>
                <a:rPr lang="" sz="1200" dirty="0">
                  <a:solidFill>
                    <a:schemeClr val="bg1"/>
                  </a:solidFill>
                  <a:ea typeface="Segoe UI" pitchFamily="34" charset="0"/>
                  <a:rtl val="0"/>
                </a:rPr>
                <a:t>Dynamics AX 2012</a:t>
              </a:r>
              <a:endParaRPr dirty="0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01F79FA-6D76-4368-BEBC-9EFBA79891FE}"/>
                </a:ext>
              </a:extLst>
            </p:cNvPr>
            <p:cNvSpPr/>
            <p:nvPr/>
          </p:nvSpPr>
          <p:spPr bwMode="auto">
            <a:xfrm>
              <a:off x="8438513" y="2438401"/>
              <a:ext cx="1316444" cy="103318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>
                  <a:solidFill>
                    <a:schemeClr val="bg1"/>
                  </a:solidFill>
                  <a:ea typeface="Segoe UI" pitchFamily="34" charset="0"/>
                  <a:rtl/>
                </a:rPr>
                <a:t>تنفيذ ترقية البيانات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5A3505C-509A-49D0-A937-AEAAF21868F2}"/>
                </a:ext>
              </a:extLst>
            </p:cNvPr>
            <p:cNvSpPr/>
            <p:nvPr/>
          </p:nvSpPr>
          <p:spPr bwMode="auto">
            <a:xfrm>
              <a:off x="4728837" y="2438401"/>
              <a:ext cx="1316444" cy="103318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تحميل</a:t>
              </a:r>
              <a:br/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النسخة الاحتياطية إلى</a:t>
              </a:r>
              <a:br/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مساحة تخزين </a:t>
              </a:r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 val="0"/>
                </a:rPr>
                <a:t>Azure</a:t>
              </a:r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 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94AE38A-4F05-4792-B133-D9FB9EF0E773}"/>
                </a:ext>
              </a:extLst>
            </p:cNvPr>
            <p:cNvSpPr/>
            <p:nvPr/>
          </p:nvSpPr>
          <p:spPr bwMode="auto">
            <a:xfrm>
              <a:off x="6583675" y="2438401"/>
              <a:ext cx="1316444" cy="103318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200" dirty="0">
                  <a:solidFill>
                    <a:schemeClr val="bg1"/>
                  </a:solidFill>
                  <a:ea typeface="Segoe UI" pitchFamily="34" charset="0"/>
                  <a:rtl/>
                </a:rPr>
                <a:t>تنزيل واستعاده النسخ الاحتياطي إلى بيئة التطوير</a:t>
              </a:r>
            </a:p>
          </p:txBody>
        </p:sp>
        <p:cxnSp>
          <p:nvCxnSpPr>
            <p:cNvPr id="121" name="Straight Arrow Connector 120">
              <a:extLst>
                <a:ext uri="{FF2B5EF4-FFF2-40B4-BE49-F238E27FC236}">
                  <a16:creationId xmlns:a16="http://schemas.microsoft.com/office/drawing/2014/main" id="{32CA138D-A297-4290-BCA5-DE4FA26DF07D}"/>
                </a:ext>
              </a:extLst>
            </p:cNvPr>
            <p:cNvCxnSpPr>
              <a:cxnSpLocks/>
              <a:stCxn id="115" idx="3"/>
              <a:endCxn id="117" idx="1"/>
            </p:cNvCxnSpPr>
            <p:nvPr/>
          </p:nvCxnSpPr>
          <p:spPr>
            <a:xfrm>
              <a:off x="2335605" y="2954993"/>
              <a:ext cx="538394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380D19AC-97D4-4258-8652-047C446AC94A}"/>
                </a:ext>
              </a:extLst>
            </p:cNvPr>
            <p:cNvCxnSpPr>
              <a:cxnSpLocks/>
              <a:stCxn id="117" idx="3"/>
              <a:endCxn id="119" idx="1"/>
            </p:cNvCxnSpPr>
            <p:nvPr/>
          </p:nvCxnSpPr>
          <p:spPr>
            <a:xfrm>
              <a:off x="4190443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74FA3CEE-AFCB-45B9-AFBD-819B64D5DF94}"/>
                </a:ext>
              </a:extLst>
            </p:cNvPr>
            <p:cNvCxnSpPr>
              <a:cxnSpLocks/>
              <a:stCxn id="119" idx="3"/>
              <a:endCxn id="120" idx="1"/>
            </p:cNvCxnSpPr>
            <p:nvPr/>
          </p:nvCxnSpPr>
          <p:spPr>
            <a:xfrm>
              <a:off x="6045281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28CD61DD-D0FA-44E5-A494-0DC42615F945}"/>
                </a:ext>
              </a:extLst>
            </p:cNvPr>
            <p:cNvCxnSpPr>
              <a:cxnSpLocks/>
              <a:stCxn id="120" idx="3"/>
              <a:endCxn id="118" idx="1"/>
            </p:cNvCxnSpPr>
            <p:nvPr/>
          </p:nvCxnSpPr>
          <p:spPr>
            <a:xfrm>
              <a:off x="7900119" y="2954994"/>
              <a:ext cx="538394" cy="0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EB6EEF62-4255-41ED-BAB1-7BCAD1173982}"/>
                </a:ext>
              </a:extLst>
            </p:cNvPr>
            <p:cNvCxnSpPr>
              <a:cxnSpLocks/>
              <a:stCxn id="118" idx="3"/>
              <a:endCxn id="116" idx="1"/>
            </p:cNvCxnSpPr>
            <p:nvPr/>
          </p:nvCxnSpPr>
          <p:spPr>
            <a:xfrm flipV="1">
              <a:off x="9754957" y="2954993"/>
              <a:ext cx="538394" cy="1"/>
            </a:xfrm>
            <a:prstGeom prst="straightConnector1">
              <a:avLst/>
            </a:prstGeom>
            <a:ln w="28575" cap="rnd">
              <a:solidFill>
                <a:schemeClr val="bg1">
                  <a:lumMod val="75000"/>
                </a:schemeClr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552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0771AF-5A4E-4650-BA12-2B8A97F83B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0771AF-5A4E-4650-BA12-2B8A97F83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Oval 79">
            <a:extLst>
              <a:ext uri="{FF2B5EF4-FFF2-40B4-BE49-F238E27FC236}">
                <a16:creationId xmlns:a16="http://schemas.microsoft.com/office/drawing/2014/main" id="{D3542FD1-82B4-4FC3-91FC-57B15A2EDE2C}"/>
              </a:ext>
            </a:extLst>
          </p:cNvPr>
          <p:cNvSpPr/>
          <p:nvPr/>
        </p:nvSpPr>
        <p:spPr bwMode="auto">
          <a:xfrm>
            <a:off x="11583923" y="2252604"/>
            <a:ext cx="45720" cy="457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IN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677F97-8CCC-4756-8091-4810227B1689}"/>
              </a:ext>
            </a:extLst>
          </p:cNvPr>
          <p:cNvSpPr txBox="1"/>
          <p:nvPr/>
        </p:nvSpPr>
        <p:spPr>
          <a:xfrm>
            <a:off x="7647360" y="2905278"/>
            <a:ext cx="1659497" cy="13849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استخدم مجموعة أدوات ترقية "قاعدة بيانات </a:t>
            </a:r>
            <a:r>
              <a:rPr lang="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AX 2012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" لـ </a:t>
            </a:r>
            <a:r>
              <a:rPr lang="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Dynamics 365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 من 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LCS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 لنقل بياناتك من بيئة الاختبار المعزولة "المصدر" إلى "الهدف"</a:t>
            </a:r>
            <a:endParaRPr lang="en-US" sz="120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701CA18-8E77-4CBD-BA4F-D60A75B29EAD}"/>
              </a:ext>
            </a:extLst>
          </p:cNvPr>
          <p:cNvSpPr txBox="1"/>
          <p:nvPr/>
        </p:nvSpPr>
        <p:spPr>
          <a:xfrm>
            <a:off x="3048778" y="3244334"/>
            <a:ext cx="609755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1800">
                <a:solidFill>
                  <a:schemeClr val="bg1"/>
                </a:solidFill>
                <a:ea typeface="Segoe UI" pitchFamily="34" charset="0"/>
                <a:cs typeface="Segoe UI" pitchFamily="34" charset="0"/>
                <a:rtl/>
              </a:rPr>
              <a:t>ترقية التعليمة البرمجية</a:t>
            </a:r>
            <a:endParaRPr lang="en-IN" sz="18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1DE7771-1728-42C6-8934-4EE6B120AA2E}"/>
              </a:ext>
            </a:extLst>
          </p:cNvPr>
          <p:cNvGrpSpPr/>
          <p:nvPr/>
        </p:nvGrpSpPr>
        <p:grpSpPr>
          <a:xfrm flipH="1">
            <a:off x="508707" y="2535731"/>
            <a:ext cx="10476244" cy="1896497"/>
            <a:chOff x="508707" y="2535731"/>
            <a:chExt cx="10476244" cy="1896497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E2D8F7D-AF68-45B9-A863-06913BB60639}"/>
                </a:ext>
              </a:extLst>
            </p:cNvPr>
            <p:cNvSpPr/>
            <p:nvPr/>
          </p:nvSpPr>
          <p:spPr>
            <a:xfrm>
              <a:off x="508707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تأكد من استيفاء جميع المتطلبات الأساسية ونشر التعليمات البرمجية المخصصة في وضع بيئة الاختبار المعزولة</a:t>
              </a:r>
              <a:endParaRPr lang="da-DK" sz="1400" kern="1200" dirty="0"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3206E51-9632-4FB1-9D51-BAD5E7D27359}"/>
                </a:ext>
              </a:extLst>
            </p:cNvPr>
            <p:cNvSpPr/>
            <p:nvPr/>
          </p:nvSpPr>
          <p:spPr>
            <a:xfrm>
              <a:off x="1949190" y="3321598"/>
              <a:ext cx="277620" cy="324763"/>
            </a:xfrm>
            <a:custGeom>
              <a:avLst/>
              <a:gdLst>
                <a:gd name="connsiteX0" fmla="*/ 0 w 277620"/>
                <a:gd name="connsiteY0" fmla="*/ 64953 h 324763"/>
                <a:gd name="connsiteX1" fmla="*/ 138810 w 277620"/>
                <a:gd name="connsiteY1" fmla="*/ 64953 h 324763"/>
                <a:gd name="connsiteX2" fmla="*/ 138810 w 277620"/>
                <a:gd name="connsiteY2" fmla="*/ 0 h 324763"/>
                <a:gd name="connsiteX3" fmla="*/ 277620 w 277620"/>
                <a:gd name="connsiteY3" fmla="*/ 162382 h 324763"/>
                <a:gd name="connsiteX4" fmla="*/ 138810 w 277620"/>
                <a:gd name="connsiteY4" fmla="*/ 324763 h 324763"/>
                <a:gd name="connsiteX5" fmla="*/ 138810 w 277620"/>
                <a:gd name="connsiteY5" fmla="*/ 259810 h 324763"/>
                <a:gd name="connsiteX6" fmla="*/ 0 w 277620"/>
                <a:gd name="connsiteY6" fmla="*/ 259810 h 324763"/>
                <a:gd name="connsiteX7" fmla="*/ 0 w 277620"/>
                <a:gd name="connsiteY7" fmla="*/ 64953 h 32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620" h="324763">
                  <a:moveTo>
                    <a:pt x="0" y="64953"/>
                  </a:moveTo>
                  <a:lnTo>
                    <a:pt x="138810" y="64953"/>
                  </a:lnTo>
                  <a:lnTo>
                    <a:pt x="138810" y="0"/>
                  </a:lnTo>
                  <a:lnTo>
                    <a:pt x="277620" y="162382"/>
                  </a:lnTo>
                  <a:lnTo>
                    <a:pt x="138810" y="324763"/>
                  </a:lnTo>
                  <a:lnTo>
                    <a:pt x="138810" y="259810"/>
                  </a:lnTo>
                  <a:lnTo>
                    <a:pt x="0" y="259810"/>
                  </a:lnTo>
                  <a:lnTo>
                    <a:pt x="0" y="64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64953" rIns="83286" bIns="64953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100" kern="1200"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B704C90-3330-497A-B9DE-F53FB4B5E000}"/>
                </a:ext>
              </a:extLst>
            </p:cNvPr>
            <p:cNvSpPr/>
            <p:nvPr/>
          </p:nvSpPr>
          <p:spPr>
            <a:xfrm>
              <a:off x="2342049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تنزيل "مجموعة أدوات ترقية قاعدة بيانات </a:t>
              </a:r>
              <a:r>
                <a:rPr lang="" sz="1400" kern="1200" dirty="0">
                  <a:cs typeface="+mn-cs"/>
                  <a:rtl val="0"/>
                </a:rPr>
                <a:t>AX 2012</a:t>
              </a:r>
              <a:r>
                <a:rPr lang="ar-sa" sz="1400" kern="1200" dirty="0">
                  <a:cs typeface="+mn-cs"/>
                  <a:rtl/>
                </a:rPr>
                <a:t>" لـ </a:t>
              </a:r>
              <a:r>
                <a:rPr lang="" sz="1400" kern="1200" dirty="0">
                  <a:cs typeface="+mn-cs"/>
                  <a:rtl val="0"/>
                </a:rPr>
                <a:t>Dynamics 365</a:t>
              </a:r>
              <a:r>
                <a:rPr lang="ar-sa" sz="1400" kern="1200" dirty="0">
                  <a:cs typeface="+mn-cs"/>
                  <a:rtl/>
                </a:rPr>
                <a:t> من </a:t>
              </a:r>
              <a:r>
                <a:rPr lang="ar-sa" sz="1400" kern="1200" dirty="0">
                  <a:cs typeface="+mn-cs"/>
                  <a:rtl val="0"/>
                </a:rPr>
                <a:t>LCS</a:t>
              </a:r>
              <a:r>
                <a:rPr lang="ar-sa" sz="1400" kern="1200" dirty="0">
                  <a:cs typeface="+mn-cs"/>
                  <a:rtl/>
                </a:rPr>
                <a:t> واستخدامه من خادم </a:t>
              </a:r>
              <a:r>
                <a:rPr lang="ar-sa" sz="1400" kern="1200" dirty="0">
                  <a:cs typeface="+mn-cs"/>
                  <a:rtl val="0"/>
                </a:rPr>
                <a:t>SQL</a:t>
              </a:r>
              <a:r>
                <a:rPr lang="ar-sa" sz="1400" kern="1200" dirty="0">
                  <a:cs typeface="+mn-cs"/>
                  <a:rtl/>
                </a:rPr>
                <a:t> المصدر</a:t>
              </a:r>
              <a:endParaRPr lang="da-DK" sz="1400" kern="1200" dirty="0"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C14B308-E6B8-44DF-ACA7-38DD90E96AC2}"/>
                </a:ext>
              </a:extLst>
            </p:cNvPr>
            <p:cNvSpPr/>
            <p:nvPr/>
          </p:nvSpPr>
          <p:spPr>
            <a:xfrm>
              <a:off x="3782533" y="3321598"/>
              <a:ext cx="277620" cy="324763"/>
            </a:xfrm>
            <a:custGeom>
              <a:avLst/>
              <a:gdLst>
                <a:gd name="connsiteX0" fmla="*/ 0 w 277620"/>
                <a:gd name="connsiteY0" fmla="*/ 64953 h 324763"/>
                <a:gd name="connsiteX1" fmla="*/ 138810 w 277620"/>
                <a:gd name="connsiteY1" fmla="*/ 64953 h 324763"/>
                <a:gd name="connsiteX2" fmla="*/ 138810 w 277620"/>
                <a:gd name="connsiteY2" fmla="*/ 0 h 324763"/>
                <a:gd name="connsiteX3" fmla="*/ 277620 w 277620"/>
                <a:gd name="connsiteY3" fmla="*/ 162382 h 324763"/>
                <a:gd name="connsiteX4" fmla="*/ 138810 w 277620"/>
                <a:gd name="connsiteY4" fmla="*/ 324763 h 324763"/>
                <a:gd name="connsiteX5" fmla="*/ 138810 w 277620"/>
                <a:gd name="connsiteY5" fmla="*/ 259810 h 324763"/>
                <a:gd name="connsiteX6" fmla="*/ 0 w 277620"/>
                <a:gd name="connsiteY6" fmla="*/ 259810 h 324763"/>
                <a:gd name="connsiteX7" fmla="*/ 0 w 277620"/>
                <a:gd name="connsiteY7" fmla="*/ 64953 h 32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620" h="324763">
                  <a:moveTo>
                    <a:pt x="0" y="64953"/>
                  </a:moveTo>
                  <a:lnTo>
                    <a:pt x="138810" y="64953"/>
                  </a:lnTo>
                  <a:lnTo>
                    <a:pt x="138810" y="0"/>
                  </a:lnTo>
                  <a:lnTo>
                    <a:pt x="277620" y="162382"/>
                  </a:lnTo>
                  <a:lnTo>
                    <a:pt x="138810" y="324763"/>
                  </a:lnTo>
                  <a:lnTo>
                    <a:pt x="138810" y="259810"/>
                  </a:lnTo>
                  <a:lnTo>
                    <a:pt x="0" y="259810"/>
                  </a:lnTo>
                  <a:lnTo>
                    <a:pt x="0" y="64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64953" rIns="83286" bIns="64953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100" kern="1200"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25AE870-5F96-404A-9FC1-885EC0C13AFB}"/>
                </a:ext>
              </a:extLst>
            </p:cNvPr>
            <p:cNvSpPr/>
            <p:nvPr/>
          </p:nvSpPr>
          <p:spPr>
            <a:xfrm>
              <a:off x="4175392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قم بتشغيل إعداد النسخ المتماثل باستخدام مجموعة الأدوات. راقبه بانتظام</a:t>
              </a:r>
              <a:endParaRPr lang="da-DK" sz="1400" kern="1200" dirty="0"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8D9F6BF-5559-42F0-94E4-368BE924815F}"/>
                </a:ext>
              </a:extLst>
            </p:cNvPr>
            <p:cNvSpPr/>
            <p:nvPr/>
          </p:nvSpPr>
          <p:spPr>
            <a:xfrm>
              <a:off x="5615876" y="3321598"/>
              <a:ext cx="277620" cy="324763"/>
            </a:xfrm>
            <a:custGeom>
              <a:avLst/>
              <a:gdLst>
                <a:gd name="connsiteX0" fmla="*/ 0 w 277620"/>
                <a:gd name="connsiteY0" fmla="*/ 64953 h 324763"/>
                <a:gd name="connsiteX1" fmla="*/ 138810 w 277620"/>
                <a:gd name="connsiteY1" fmla="*/ 64953 h 324763"/>
                <a:gd name="connsiteX2" fmla="*/ 138810 w 277620"/>
                <a:gd name="connsiteY2" fmla="*/ 0 h 324763"/>
                <a:gd name="connsiteX3" fmla="*/ 277620 w 277620"/>
                <a:gd name="connsiteY3" fmla="*/ 162382 h 324763"/>
                <a:gd name="connsiteX4" fmla="*/ 138810 w 277620"/>
                <a:gd name="connsiteY4" fmla="*/ 324763 h 324763"/>
                <a:gd name="connsiteX5" fmla="*/ 138810 w 277620"/>
                <a:gd name="connsiteY5" fmla="*/ 259810 h 324763"/>
                <a:gd name="connsiteX6" fmla="*/ 0 w 277620"/>
                <a:gd name="connsiteY6" fmla="*/ 259810 h 324763"/>
                <a:gd name="connsiteX7" fmla="*/ 0 w 277620"/>
                <a:gd name="connsiteY7" fmla="*/ 64953 h 32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620" h="324763">
                  <a:moveTo>
                    <a:pt x="0" y="64953"/>
                  </a:moveTo>
                  <a:lnTo>
                    <a:pt x="138810" y="64953"/>
                  </a:lnTo>
                  <a:lnTo>
                    <a:pt x="138810" y="0"/>
                  </a:lnTo>
                  <a:lnTo>
                    <a:pt x="277620" y="162382"/>
                  </a:lnTo>
                  <a:lnTo>
                    <a:pt x="138810" y="324763"/>
                  </a:lnTo>
                  <a:lnTo>
                    <a:pt x="138810" y="259810"/>
                  </a:lnTo>
                  <a:lnTo>
                    <a:pt x="0" y="259810"/>
                  </a:lnTo>
                  <a:lnTo>
                    <a:pt x="0" y="64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64953" rIns="83286" bIns="64953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100" kern="1200"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456F160-1DBC-4D56-A459-78466472CFF1}"/>
                </a:ext>
              </a:extLst>
            </p:cNvPr>
            <p:cNvSpPr/>
            <p:nvPr/>
          </p:nvSpPr>
          <p:spPr>
            <a:xfrm>
              <a:off x="6008735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عند اكتمال النسخ المتماثل، أوقف تشغيل </a:t>
              </a:r>
              <a:r>
                <a:rPr lang="" sz="1400" kern="1200" dirty="0">
                  <a:cs typeface="+mn-cs"/>
                  <a:rtl val="0"/>
                </a:rPr>
                <a:t>AX 2012 AOS’es</a:t>
              </a:r>
              <a:r>
                <a:rPr lang="ar-sa" sz="1400" kern="1200" dirty="0">
                  <a:cs typeface="+mn-cs"/>
                  <a:rtl/>
                </a:rPr>
                <a:t>، تحقق من صحة اكتمال </a:t>
              </a:r>
              <a:r>
                <a:rPr lang="ar-sa" sz="1400" kern="1200" dirty="0">
                  <a:cs typeface="+mn-cs"/>
                  <a:rtl val="0"/>
                </a:rPr>
                <a:t>(dv)</a:t>
              </a:r>
              <a:r>
                <a:rPr lang="ar-sa" sz="1400" kern="1200" dirty="0">
                  <a:cs typeface="+mn-cs"/>
                  <a:rtl/>
                </a:rPr>
                <a:t>، قم بتشغيل خطوات التكوين المرحلي باستخدام مجموعة الأدوات</a:t>
              </a:r>
              <a:endParaRPr lang="da-DK" sz="1400" kern="1200" dirty="0"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77158C2-BB68-431D-96A2-7F4C659A8C7B}"/>
                </a:ext>
              </a:extLst>
            </p:cNvPr>
            <p:cNvSpPr/>
            <p:nvPr/>
          </p:nvSpPr>
          <p:spPr>
            <a:xfrm>
              <a:off x="7449219" y="3321598"/>
              <a:ext cx="277620" cy="324763"/>
            </a:xfrm>
            <a:custGeom>
              <a:avLst/>
              <a:gdLst>
                <a:gd name="connsiteX0" fmla="*/ 0 w 277620"/>
                <a:gd name="connsiteY0" fmla="*/ 64953 h 324763"/>
                <a:gd name="connsiteX1" fmla="*/ 138810 w 277620"/>
                <a:gd name="connsiteY1" fmla="*/ 64953 h 324763"/>
                <a:gd name="connsiteX2" fmla="*/ 138810 w 277620"/>
                <a:gd name="connsiteY2" fmla="*/ 0 h 324763"/>
                <a:gd name="connsiteX3" fmla="*/ 277620 w 277620"/>
                <a:gd name="connsiteY3" fmla="*/ 162382 h 324763"/>
                <a:gd name="connsiteX4" fmla="*/ 138810 w 277620"/>
                <a:gd name="connsiteY4" fmla="*/ 324763 h 324763"/>
                <a:gd name="connsiteX5" fmla="*/ 138810 w 277620"/>
                <a:gd name="connsiteY5" fmla="*/ 259810 h 324763"/>
                <a:gd name="connsiteX6" fmla="*/ 0 w 277620"/>
                <a:gd name="connsiteY6" fmla="*/ 259810 h 324763"/>
                <a:gd name="connsiteX7" fmla="*/ 0 w 277620"/>
                <a:gd name="connsiteY7" fmla="*/ 64953 h 32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620" h="324763">
                  <a:moveTo>
                    <a:pt x="0" y="64953"/>
                  </a:moveTo>
                  <a:lnTo>
                    <a:pt x="138810" y="64953"/>
                  </a:lnTo>
                  <a:lnTo>
                    <a:pt x="138810" y="0"/>
                  </a:lnTo>
                  <a:lnTo>
                    <a:pt x="277620" y="162382"/>
                  </a:lnTo>
                  <a:lnTo>
                    <a:pt x="138810" y="324763"/>
                  </a:lnTo>
                  <a:lnTo>
                    <a:pt x="138810" y="259810"/>
                  </a:lnTo>
                  <a:lnTo>
                    <a:pt x="0" y="259810"/>
                  </a:lnTo>
                  <a:lnTo>
                    <a:pt x="0" y="64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64953" rIns="83286" bIns="64953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100" kern="1200"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D7E3403-F6D9-4038-A62A-D56AA81FEC79}"/>
                </a:ext>
              </a:extLst>
            </p:cNvPr>
            <p:cNvSpPr/>
            <p:nvPr/>
          </p:nvSpPr>
          <p:spPr>
            <a:xfrm>
              <a:off x="7842078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عند اكتمال خطوات التكوين المرحلي، قم بتشغيل ترقية البيانات باستخدام مجموعة الأدوات، وقم بإنهاء ترقية البيانات</a:t>
              </a:r>
              <a:endParaRPr lang="da-DK" sz="1400" kern="1200" dirty="0"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0374E6A-525B-437C-8F1D-EF0EBF9F1F7F}"/>
                </a:ext>
              </a:extLst>
            </p:cNvPr>
            <p:cNvSpPr/>
            <p:nvPr/>
          </p:nvSpPr>
          <p:spPr>
            <a:xfrm>
              <a:off x="9282562" y="3321598"/>
              <a:ext cx="277620" cy="324763"/>
            </a:xfrm>
            <a:custGeom>
              <a:avLst/>
              <a:gdLst>
                <a:gd name="connsiteX0" fmla="*/ 0 w 277620"/>
                <a:gd name="connsiteY0" fmla="*/ 64953 h 324763"/>
                <a:gd name="connsiteX1" fmla="*/ 138810 w 277620"/>
                <a:gd name="connsiteY1" fmla="*/ 64953 h 324763"/>
                <a:gd name="connsiteX2" fmla="*/ 138810 w 277620"/>
                <a:gd name="connsiteY2" fmla="*/ 0 h 324763"/>
                <a:gd name="connsiteX3" fmla="*/ 277620 w 277620"/>
                <a:gd name="connsiteY3" fmla="*/ 162382 h 324763"/>
                <a:gd name="connsiteX4" fmla="*/ 138810 w 277620"/>
                <a:gd name="connsiteY4" fmla="*/ 324763 h 324763"/>
                <a:gd name="connsiteX5" fmla="*/ 138810 w 277620"/>
                <a:gd name="connsiteY5" fmla="*/ 259810 h 324763"/>
                <a:gd name="connsiteX6" fmla="*/ 0 w 277620"/>
                <a:gd name="connsiteY6" fmla="*/ 259810 h 324763"/>
                <a:gd name="connsiteX7" fmla="*/ 0 w 277620"/>
                <a:gd name="connsiteY7" fmla="*/ 64953 h 32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620" h="324763">
                  <a:moveTo>
                    <a:pt x="0" y="64953"/>
                  </a:moveTo>
                  <a:lnTo>
                    <a:pt x="138810" y="64953"/>
                  </a:lnTo>
                  <a:lnTo>
                    <a:pt x="138810" y="0"/>
                  </a:lnTo>
                  <a:lnTo>
                    <a:pt x="277620" y="162382"/>
                  </a:lnTo>
                  <a:lnTo>
                    <a:pt x="138810" y="324763"/>
                  </a:lnTo>
                  <a:lnTo>
                    <a:pt x="138810" y="259810"/>
                  </a:lnTo>
                  <a:lnTo>
                    <a:pt x="0" y="259810"/>
                  </a:lnTo>
                  <a:lnTo>
                    <a:pt x="0" y="64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64953" rIns="83286" bIns="64953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100" kern="1200"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38379A-DC9E-4B13-9F6B-860B804FD919}"/>
                </a:ext>
              </a:extLst>
            </p:cNvPr>
            <p:cNvSpPr/>
            <p:nvPr/>
          </p:nvSpPr>
          <p:spPr>
            <a:xfrm>
              <a:off x="9675421" y="2535731"/>
              <a:ext cx="1309530" cy="1896497"/>
            </a:xfrm>
            <a:custGeom>
              <a:avLst/>
              <a:gdLst>
                <a:gd name="connsiteX0" fmla="*/ 0 w 1309530"/>
                <a:gd name="connsiteY0" fmla="*/ 130953 h 1896497"/>
                <a:gd name="connsiteX1" fmla="*/ 130953 w 1309530"/>
                <a:gd name="connsiteY1" fmla="*/ 0 h 1896497"/>
                <a:gd name="connsiteX2" fmla="*/ 1178577 w 1309530"/>
                <a:gd name="connsiteY2" fmla="*/ 0 h 1896497"/>
                <a:gd name="connsiteX3" fmla="*/ 1309530 w 1309530"/>
                <a:gd name="connsiteY3" fmla="*/ 130953 h 1896497"/>
                <a:gd name="connsiteX4" fmla="*/ 1309530 w 1309530"/>
                <a:gd name="connsiteY4" fmla="*/ 1765544 h 1896497"/>
                <a:gd name="connsiteX5" fmla="*/ 1178577 w 1309530"/>
                <a:gd name="connsiteY5" fmla="*/ 1896497 h 1896497"/>
                <a:gd name="connsiteX6" fmla="*/ 130953 w 1309530"/>
                <a:gd name="connsiteY6" fmla="*/ 1896497 h 1896497"/>
                <a:gd name="connsiteX7" fmla="*/ 0 w 1309530"/>
                <a:gd name="connsiteY7" fmla="*/ 1765544 h 1896497"/>
                <a:gd name="connsiteX8" fmla="*/ 0 w 1309530"/>
                <a:gd name="connsiteY8" fmla="*/ 130953 h 1896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530" h="1896497">
                  <a:moveTo>
                    <a:pt x="0" y="130953"/>
                  </a:moveTo>
                  <a:cubicBezTo>
                    <a:pt x="0" y="58630"/>
                    <a:pt x="58630" y="0"/>
                    <a:pt x="130953" y="0"/>
                  </a:cubicBezTo>
                  <a:lnTo>
                    <a:pt x="1178577" y="0"/>
                  </a:lnTo>
                  <a:cubicBezTo>
                    <a:pt x="1250900" y="0"/>
                    <a:pt x="1309530" y="58630"/>
                    <a:pt x="1309530" y="130953"/>
                  </a:cubicBezTo>
                  <a:lnTo>
                    <a:pt x="1309530" y="1765544"/>
                  </a:lnTo>
                  <a:cubicBezTo>
                    <a:pt x="1309530" y="1837867"/>
                    <a:pt x="1250900" y="1896497"/>
                    <a:pt x="1178577" y="1896497"/>
                  </a:cubicBezTo>
                  <a:lnTo>
                    <a:pt x="130953" y="1896497"/>
                  </a:lnTo>
                  <a:cubicBezTo>
                    <a:pt x="58630" y="1896497"/>
                    <a:pt x="0" y="1837867"/>
                    <a:pt x="0" y="1765544"/>
                  </a:cubicBezTo>
                  <a:lnTo>
                    <a:pt x="0" y="130953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695" tIns="91695" rIns="91695" bIns="91695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400" kern="1200" dirty="0">
                  <a:cs typeface="+mn-cs"/>
                  <a:rtl/>
                </a:rPr>
                <a:t>أكمل تكوين التطبيق الإضافي واختبار الدخان في وضع بيئة الاختبار المعزولة</a:t>
              </a:r>
              <a:endParaRPr lang="da-DK" sz="1400" kern="1200" dirty="0"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4370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0771AF-5A4E-4650-BA12-2B8A97F83B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0771AF-5A4E-4650-BA12-2B8A97F83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Oval 79">
            <a:extLst>
              <a:ext uri="{FF2B5EF4-FFF2-40B4-BE49-F238E27FC236}">
                <a16:creationId xmlns:a16="http://schemas.microsoft.com/office/drawing/2014/main" id="{D3542FD1-82B4-4FC3-91FC-57B15A2EDE2C}"/>
              </a:ext>
            </a:extLst>
          </p:cNvPr>
          <p:cNvSpPr/>
          <p:nvPr/>
        </p:nvSpPr>
        <p:spPr bwMode="auto">
          <a:xfrm>
            <a:off x="11583923" y="2252604"/>
            <a:ext cx="45720" cy="457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IN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677F97-8CCC-4756-8091-4810227B1689}"/>
              </a:ext>
            </a:extLst>
          </p:cNvPr>
          <p:cNvSpPr txBox="1"/>
          <p:nvPr/>
        </p:nvSpPr>
        <p:spPr>
          <a:xfrm>
            <a:off x="7647360" y="2905278"/>
            <a:ext cx="1659497" cy="138499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استخدم مجموعة أدوات ترقية "قاعدة بيانات </a:t>
            </a:r>
            <a:r>
              <a:rPr lang="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AX 2012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" لـ </a:t>
            </a:r>
            <a:r>
              <a:rPr lang="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Dynamics 365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 من 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 val="0"/>
              </a:rPr>
              <a:t>LCS</a:t>
            </a:r>
            <a:r>
              <a:rPr lang="ar-sa" sz="1200" dirty="0">
                <a:solidFill>
                  <a:schemeClr val="bg1"/>
                </a:solidFill>
                <a:effectLst/>
                <a:latin typeface="Segoe UI" panose="020B0502040204020203" pitchFamily="34" charset="0"/>
                <a:rtl/>
              </a:rPr>
              <a:t> لنقل بياناتك من بيئة الاختبار المعزولة "المصدر" إلى "الهدف"</a:t>
            </a:r>
            <a:endParaRPr lang="en-US" sz="120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701CA18-8E77-4CBD-BA4F-D60A75B29EAD}"/>
              </a:ext>
            </a:extLst>
          </p:cNvPr>
          <p:cNvSpPr txBox="1"/>
          <p:nvPr/>
        </p:nvSpPr>
        <p:spPr>
          <a:xfrm>
            <a:off x="3048778" y="3244334"/>
            <a:ext cx="609755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1800">
                <a:solidFill>
                  <a:schemeClr val="bg1"/>
                </a:solidFill>
                <a:ea typeface="Segoe UI" pitchFamily="34" charset="0"/>
                <a:cs typeface="Segoe UI" pitchFamily="34" charset="0"/>
                <a:rtl/>
              </a:rPr>
              <a:t>ترقية التعليمة البرمجية</a:t>
            </a:r>
            <a:endParaRPr lang="en-IN" sz="18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4AE7FB8-3E3A-49A6-864F-A09FFB7DD2E0}"/>
              </a:ext>
            </a:extLst>
          </p:cNvPr>
          <p:cNvGrpSpPr/>
          <p:nvPr/>
        </p:nvGrpSpPr>
        <p:grpSpPr>
          <a:xfrm flipH="1">
            <a:off x="513822" y="2333685"/>
            <a:ext cx="10466013" cy="2300590"/>
            <a:chOff x="513822" y="2333685"/>
            <a:chExt cx="10466013" cy="230059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B45B00F-204B-440E-B677-E1B3B27AE41B}"/>
                </a:ext>
              </a:extLst>
            </p:cNvPr>
            <p:cNvSpPr/>
            <p:nvPr/>
          </p:nvSpPr>
          <p:spPr>
            <a:xfrm>
              <a:off x="513822" y="2333685"/>
              <a:ext cx="1585759" cy="2300590"/>
            </a:xfrm>
            <a:custGeom>
              <a:avLst/>
              <a:gdLst>
                <a:gd name="connsiteX0" fmla="*/ 0 w 1585759"/>
                <a:gd name="connsiteY0" fmla="*/ 158576 h 2300590"/>
                <a:gd name="connsiteX1" fmla="*/ 158576 w 1585759"/>
                <a:gd name="connsiteY1" fmla="*/ 0 h 2300590"/>
                <a:gd name="connsiteX2" fmla="*/ 1427183 w 1585759"/>
                <a:gd name="connsiteY2" fmla="*/ 0 h 2300590"/>
                <a:gd name="connsiteX3" fmla="*/ 1585759 w 1585759"/>
                <a:gd name="connsiteY3" fmla="*/ 158576 h 2300590"/>
                <a:gd name="connsiteX4" fmla="*/ 1585759 w 1585759"/>
                <a:gd name="connsiteY4" fmla="*/ 2142014 h 2300590"/>
                <a:gd name="connsiteX5" fmla="*/ 1427183 w 1585759"/>
                <a:gd name="connsiteY5" fmla="*/ 2300590 h 2300590"/>
                <a:gd name="connsiteX6" fmla="*/ 158576 w 1585759"/>
                <a:gd name="connsiteY6" fmla="*/ 2300590 h 2300590"/>
                <a:gd name="connsiteX7" fmla="*/ 0 w 1585759"/>
                <a:gd name="connsiteY7" fmla="*/ 2142014 h 2300590"/>
                <a:gd name="connsiteX8" fmla="*/ 0 w 1585759"/>
                <a:gd name="connsiteY8" fmla="*/ 158576 h 230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5759" h="2300590">
                  <a:moveTo>
                    <a:pt x="0" y="158576"/>
                  </a:moveTo>
                  <a:cubicBezTo>
                    <a:pt x="0" y="70997"/>
                    <a:pt x="70997" y="0"/>
                    <a:pt x="158576" y="0"/>
                  </a:cubicBezTo>
                  <a:lnTo>
                    <a:pt x="1427183" y="0"/>
                  </a:lnTo>
                  <a:cubicBezTo>
                    <a:pt x="1514762" y="0"/>
                    <a:pt x="1585759" y="70997"/>
                    <a:pt x="1585759" y="158576"/>
                  </a:cubicBezTo>
                  <a:lnTo>
                    <a:pt x="1585759" y="2142014"/>
                  </a:lnTo>
                  <a:cubicBezTo>
                    <a:pt x="1585759" y="2229593"/>
                    <a:pt x="1514762" y="2300590"/>
                    <a:pt x="1427183" y="2300590"/>
                  </a:cubicBezTo>
                  <a:lnTo>
                    <a:pt x="158576" y="2300590"/>
                  </a:lnTo>
                  <a:cubicBezTo>
                    <a:pt x="70997" y="2300590"/>
                    <a:pt x="0" y="2229593"/>
                    <a:pt x="0" y="2142014"/>
                  </a:cubicBezTo>
                  <a:lnTo>
                    <a:pt x="0" y="158576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215" tIns="111215" rIns="111215" bIns="111215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700" kern="1200" dirty="0">
                  <a:rtl/>
                </a:rPr>
                <a:t>ترقية التعليمة البرمجية</a:t>
              </a:r>
              <a:endParaRPr lang="da-DK" sz="1700" kern="12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2A1C585-E447-462E-8D24-72596834BA41}"/>
                </a:ext>
              </a:extLst>
            </p:cNvPr>
            <p:cNvSpPr/>
            <p:nvPr/>
          </p:nvSpPr>
          <p:spPr>
            <a:xfrm>
              <a:off x="2258158" y="3287346"/>
              <a:ext cx="336181" cy="393268"/>
            </a:xfrm>
            <a:custGeom>
              <a:avLst/>
              <a:gdLst>
                <a:gd name="connsiteX0" fmla="*/ 0 w 336181"/>
                <a:gd name="connsiteY0" fmla="*/ 78654 h 393268"/>
                <a:gd name="connsiteX1" fmla="*/ 168091 w 336181"/>
                <a:gd name="connsiteY1" fmla="*/ 78654 h 393268"/>
                <a:gd name="connsiteX2" fmla="*/ 168091 w 336181"/>
                <a:gd name="connsiteY2" fmla="*/ 0 h 393268"/>
                <a:gd name="connsiteX3" fmla="*/ 336181 w 336181"/>
                <a:gd name="connsiteY3" fmla="*/ 196634 h 393268"/>
                <a:gd name="connsiteX4" fmla="*/ 168091 w 336181"/>
                <a:gd name="connsiteY4" fmla="*/ 393268 h 393268"/>
                <a:gd name="connsiteX5" fmla="*/ 168091 w 336181"/>
                <a:gd name="connsiteY5" fmla="*/ 314614 h 393268"/>
                <a:gd name="connsiteX6" fmla="*/ 0 w 336181"/>
                <a:gd name="connsiteY6" fmla="*/ 314614 h 393268"/>
                <a:gd name="connsiteX7" fmla="*/ 0 w 336181"/>
                <a:gd name="connsiteY7" fmla="*/ 78654 h 39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181" h="393268">
                  <a:moveTo>
                    <a:pt x="0" y="78654"/>
                  </a:moveTo>
                  <a:lnTo>
                    <a:pt x="168091" y="78654"/>
                  </a:lnTo>
                  <a:lnTo>
                    <a:pt x="168091" y="0"/>
                  </a:lnTo>
                  <a:lnTo>
                    <a:pt x="336181" y="196634"/>
                  </a:lnTo>
                  <a:lnTo>
                    <a:pt x="168091" y="393268"/>
                  </a:lnTo>
                  <a:lnTo>
                    <a:pt x="168091" y="314614"/>
                  </a:lnTo>
                  <a:lnTo>
                    <a:pt x="0" y="314614"/>
                  </a:lnTo>
                  <a:lnTo>
                    <a:pt x="0" y="78654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78654" rIns="100854" bIns="78654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990B1FE-8133-4D9E-B5B2-B0E741A4FD6C}"/>
                </a:ext>
              </a:extLst>
            </p:cNvPr>
            <p:cNvSpPr/>
            <p:nvPr/>
          </p:nvSpPr>
          <p:spPr>
            <a:xfrm>
              <a:off x="2733885" y="2333685"/>
              <a:ext cx="1585759" cy="2300590"/>
            </a:xfrm>
            <a:custGeom>
              <a:avLst/>
              <a:gdLst>
                <a:gd name="connsiteX0" fmla="*/ 0 w 1585759"/>
                <a:gd name="connsiteY0" fmla="*/ 158576 h 2300590"/>
                <a:gd name="connsiteX1" fmla="*/ 158576 w 1585759"/>
                <a:gd name="connsiteY1" fmla="*/ 0 h 2300590"/>
                <a:gd name="connsiteX2" fmla="*/ 1427183 w 1585759"/>
                <a:gd name="connsiteY2" fmla="*/ 0 h 2300590"/>
                <a:gd name="connsiteX3" fmla="*/ 1585759 w 1585759"/>
                <a:gd name="connsiteY3" fmla="*/ 158576 h 2300590"/>
                <a:gd name="connsiteX4" fmla="*/ 1585759 w 1585759"/>
                <a:gd name="connsiteY4" fmla="*/ 2142014 h 2300590"/>
                <a:gd name="connsiteX5" fmla="*/ 1427183 w 1585759"/>
                <a:gd name="connsiteY5" fmla="*/ 2300590 h 2300590"/>
                <a:gd name="connsiteX6" fmla="*/ 158576 w 1585759"/>
                <a:gd name="connsiteY6" fmla="*/ 2300590 h 2300590"/>
                <a:gd name="connsiteX7" fmla="*/ 0 w 1585759"/>
                <a:gd name="connsiteY7" fmla="*/ 2142014 h 2300590"/>
                <a:gd name="connsiteX8" fmla="*/ 0 w 1585759"/>
                <a:gd name="connsiteY8" fmla="*/ 158576 h 230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5759" h="2300590">
                  <a:moveTo>
                    <a:pt x="0" y="158576"/>
                  </a:moveTo>
                  <a:cubicBezTo>
                    <a:pt x="0" y="70997"/>
                    <a:pt x="70997" y="0"/>
                    <a:pt x="158576" y="0"/>
                  </a:cubicBezTo>
                  <a:lnTo>
                    <a:pt x="1427183" y="0"/>
                  </a:lnTo>
                  <a:cubicBezTo>
                    <a:pt x="1514762" y="0"/>
                    <a:pt x="1585759" y="70997"/>
                    <a:pt x="1585759" y="158576"/>
                  </a:cubicBezTo>
                  <a:lnTo>
                    <a:pt x="1585759" y="2142014"/>
                  </a:lnTo>
                  <a:cubicBezTo>
                    <a:pt x="1585759" y="2229593"/>
                    <a:pt x="1514762" y="2300590"/>
                    <a:pt x="1427183" y="2300590"/>
                  </a:cubicBezTo>
                  <a:lnTo>
                    <a:pt x="158576" y="2300590"/>
                  </a:lnTo>
                  <a:cubicBezTo>
                    <a:pt x="70997" y="2300590"/>
                    <a:pt x="0" y="2229593"/>
                    <a:pt x="0" y="2142014"/>
                  </a:cubicBezTo>
                  <a:lnTo>
                    <a:pt x="0" y="158576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215" tIns="111215" rIns="111215" bIns="111215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700" kern="1200" dirty="0">
                  <a:rtl/>
                </a:rPr>
                <a:t>قم بتشغيل قائمة مراجعة ما قبل الترقية على النظام المصدر</a:t>
              </a:r>
              <a:endParaRPr lang="da-DK" sz="1700" kern="12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CEED8B3-D26E-416B-B519-1D161E7B0B6E}"/>
                </a:ext>
              </a:extLst>
            </p:cNvPr>
            <p:cNvSpPr/>
            <p:nvPr/>
          </p:nvSpPr>
          <p:spPr>
            <a:xfrm>
              <a:off x="4478221" y="3287346"/>
              <a:ext cx="336181" cy="393268"/>
            </a:xfrm>
            <a:custGeom>
              <a:avLst/>
              <a:gdLst>
                <a:gd name="connsiteX0" fmla="*/ 0 w 336181"/>
                <a:gd name="connsiteY0" fmla="*/ 78654 h 393268"/>
                <a:gd name="connsiteX1" fmla="*/ 168091 w 336181"/>
                <a:gd name="connsiteY1" fmla="*/ 78654 h 393268"/>
                <a:gd name="connsiteX2" fmla="*/ 168091 w 336181"/>
                <a:gd name="connsiteY2" fmla="*/ 0 h 393268"/>
                <a:gd name="connsiteX3" fmla="*/ 336181 w 336181"/>
                <a:gd name="connsiteY3" fmla="*/ 196634 h 393268"/>
                <a:gd name="connsiteX4" fmla="*/ 168091 w 336181"/>
                <a:gd name="connsiteY4" fmla="*/ 393268 h 393268"/>
                <a:gd name="connsiteX5" fmla="*/ 168091 w 336181"/>
                <a:gd name="connsiteY5" fmla="*/ 314614 h 393268"/>
                <a:gd name="connsiteX6" fmla="*/ 0 w 336181"/>
                <a:gd name="connsiteY6" fmla="*/ 314614 h 393268"/>
                <a:gd name="connsiteX7" fmla="*/ 0 w 336181"/>
                <a:gd name="connsiteY7" fmla="*/ 78654 h 39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181" h="393268">
                  <a:moveTo>
                    <a:pt x="0" y="78654"/>
                  </a:moveTo>
                  <a:lnTo>
                    <a:pt x="168091" y="78654"/>
                  </a:lnTo>
                  <a:lnTo>
                    <a:pt x="168091" y="0"/>
                  </a:lnTo>
                  <a:lnTo>
                    <a:pt x="336181" y="196634"/>
                  </a:lnTo>
                  <a:lnTo>
                    <a:pt x="168091" y="393268"/>
                  </a:lnTo>
                  <a:lnTo>
                    <a:pt x="168091" y="314614"/>
                  </a:lnTo>
                  <a:lnTo>
                    <a:pt x="0" y="314614"/>
                  </a:lnTo>
                  <a:lnTo>
                    <a:pt x="0" y="78654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78654" rIns="100854" bIns="78654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EB362B2-F809-4B11-AF29-AAEDA6B12DB1}"/>
                </a:ext>
              </a:extLst>
            </p:cNvPr>
            <p:cNvSpPr/>
            <p:nvPr/>
          </p:nvSpPr>
          <p:spPr>
            <a:xfrm>
              <a:off x="4953949" y="2333685"/>
              <a:ext cx="1585759" cy="2300590"/>
            </a:xfrm>
            <a:custGeom>
              <a:avLst/>
              <a:gdLst>
                <a:gd name="connsiteX0" fmla="*/ 0 w 1585759"/>
                <a:gd name="connsiteY0" fmla="*/ 158576 h 2300590"/>
                <a:gd name="connsiteX1" fmla="*/ 158576 w 1585759"/>
                <a:gd name="connsiteY1" fmla="*/ 0 h 2300590"/>
                <a:gd name="connsiteX2" fmla="*/ 1427183 w 1585759"/>
                <a:gd name="connsiteY2" fmla="*/ 0 h 2300590"/>
                <a:gd name="connsiteX3" fmla="*/ 1585759 w 1585759"/>
                <a:gd name="connsiteY3" fmla="*/ 158576 h 2300590"/>
                <a:gd name="connsiteX4" fmla="*/ 1585759 w 1585759"/>
                <a:gd name="connsiteY4" fmla="*/ 2142014 h 2300590"/>
                <a:gd name="connsiteX5" fmla="*/ 1427183 w 1585759"/>
                <a:gd name="connsiteY5" fmla="*/ 2300590 h 2300590"/>
                <a:gd name="connsiteX6" fmla="*/ 158576 w 1585759"/>
                <a:gd name="connsiteY6" fmla="*/ 2300590 h 2300590"/>
                <a:gd name="connsiteX7" fmla="*/ 0 w 1585759"/>
                <a:gd name="connsiteY7" fmla="*/ 2142014 h 2300590"/>
                <a:gd name="connsiteX8" fmla="*/ 0 w 1585759"/>
                <a:gd name="connsiteY8" fmla="*/ 158576 h 230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5759" h="2300590">
                  <a:moveTo>
                    <a:pt x="0" y="158576"/>
                  </a:moveTo>
                  <a:cubicBezTo>
                    <a:pt x="0" y="70997"/>
                    <a:pt x="70997" y="0"/>
                    <a:pt x="158576" y="0"/>
                  </a:cubicBezTo>
                  <a:lnTo>
                    <a:pt x="1427183" y="0"/>
                  </a:lnTo>
                  <a:cubicBezTo>
                    <a:pt x="1514762" y="0"/>
                    <a:pt x="1585759" y="70997"/>
                    <a:pt x="1585759" y="158576"/>
                  </a:cubicBezTo>
                  <a:lnTo>
                    <a:pt x="1585759" y="2142014"/>
                  </a:lnTo>
                  <a:cubicBezTo>
                    <a:pt x="1585759" y="2229593"/>
                    <a:pt x="1514762" y="2300590"/>
                    <a:pt x="1427183" y="2300590"/>
                  </a:cubicBezTo>
                  <a:lnTo>
                    <a:pt x="158576" y="2300590"/>
                  </a:lnTo>
                  <a:cubicBezTo>
                    <a:pt x="70997" y="2300590"/>
                    <a:pt x="0" y="2229593"/>
                    <a:pt x="0" y="2142014"/>
                  </a:cubicBezTo>
                  <a:lnTo>
                    <a:pt x="0" y="158576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215" tIns="111215" rIns="111215" bIns="111215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700" kern="1200" dirty="0">
                  <a:rtl/>
                </a:rPr>
                <a:t>مهام إعداد النظام المصدر</a:t>
              </a:r>
              <a:endParaRPr lang="da-DK" sz="17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16225B7-9153-4E4A-9126-A803ECE3F6B3}"/>
                </a:ext>
              </a:extLst>
            </p:cNvPr>
            <p:cNvSpPr/>
            <p:nvPr/>
          </p:nvSpPr>
          <p:spPr>
            <a:xfrm>
              <a:off x="6698285" y="3287346"/>
              <a:ext cx="336181" cy="393268"/>
            </a:xfrm>
            <a:custGeom>
              <a:avLst/>
              <a:gdLst>
                <a:gd name="connsiteX0" fmla="*/ 0 w 336181"/>
                <a:gd name="connsiteY0" fmla="*/ 78654 h 393268"/>
                <a:gd name="connsiteX1" fmla="*/ 168091 w 336181"/>
                <a:gd name="connsiteY1" fmla="*/ 78654 h 393268"/>
                <a:gd name="connsiteX2" fmla="*/ 168091 w 336181"/>
                <a:gd name="connsiteY2" fmla="*/ 0 h 393268"/>
                <a:gd name="connsiteX3" fmla="*/ 336181 w 336181"/>
                <a:gd name="connsiteY3" fmla="*/ 196634 h 393268"/>
                <a:gd name="connsiteX4" fmla="*/ 168091 w 336181"/>
                <a:gd name="connsiteY4" fmla="*/ 393268 h 393268"/>
                <a:gd name="connsiteX5" fmla="*/ 168091 w 336181"/>
                <a:gd name="connsiteY5" fmla="*/ 314614 h 393268"/>
                <a:gd name="connsiteX6" fmla="*/ 0 w 336181"/>
                <a:gd name="connsiteY6" fmla="*/ 314614 h 393268"/>
                <a:gd name="connsiteX7" fmla="*/ 0 w 336181"/>
                <a:gd name="connsiteY7" fmla="*/ 78654 h 39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181" h="393268">
                  <a:moveTo>
                    <a:pt x="0" y="78654"/>
                  </a:moveTo>
                  <a:lnTo>
                    <a:pt x="168091" y="78654"/>
                  </a:lnTo>
                  <a:lnTo>
                    <a:pt x="168091" y="0"/>
                  </a:lnTo>
                  <a:lnTo>
                    <a:pt x="336181" y="196634"/>
                  </a:lnTo>
                  <a:lnTo>
                    <a:pt x="168091" y="393268"/>
                  </a:lnTo>
                  <a:lnTo>
                    <a:pt x="168091" y="314614"/>
                  </a:lnTo>
                  <a:lnTo>
                    <a:pt x="0" y="314614"/>
                  </a:lnTo>
                  <a:lnTo>
                    <a:pt x="0" y="78654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78654" rIns="100854" bIns="78654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8A3E361-9439-4E0E-B46C-3F99821020A5}"/>
                </a:ext>
              </a:extLst>
            </p:cNvPr>
            <p:cNvSpPr/>
            <p:nvPr/>
          </p:nvSpPr>
          <p:spPr>
            <a:xfrm>
              <a:off x="7174013" y="2333685"/>
              <a:ext cx="1585759" cy="2300590"/>
            </a:xfrm>
            <a:custGeom>
              <a:avLst/>
              <a:gdLst>
                <a:gd name="connsiteX0" fmla="*/ 0 w 1585759"/>
                <a:gd name="connsiteY0" fmla="*/ 158576 h 2300590"/>
                <a:gd name="connsiteX1" fmla="*/ 158576 w 1585759"/>
                <a:gd name="connsiteY1" fmla="*/ 0 h 2300590"/>
                <a:gd name="connsiteX2" fmla="*/ 1427183 w 1585759"/>
                <a:gd name="connsiteY2" fmla="*/ 0 h 2300590"/>
                <a:gd name="connsiteX3" fmla="*/ 1585759 w 1585759"/>
                <a:gd name="connsiteY3" fmla="*/ 158576 h 2300590"/>
                <a:gd name="connsiteX4" fmla="*/ 1585759 w 1585759"/>
                <a:gd name="connsiteY4" fmla="*/ 2142014 h 2300590"/>
                <a:gd name="connsiteX5" fmla="*/ 1427183 w 1585759"/>
                <a:gd name="connsiteY5" fmla="*/ 2300590 h 2300590"/>
                <a:gd name="connsiteX6" fmla="*/ 158576 w 1585759"/>
                <a:gd name="connsiteY6" fmla="*/ 2300590 h 2300590"/>
                <a:gd name="connsiteX7" fmla="*/ 0 w 1585759"/>
                <a:gd name="connsiteY7" fmla="*/ 2142014 h 2300590"/>
                <a:gd name="connsiteX8" fmla="*/ 0 w 1585759"/>
                <a:gd name="connsiteY8" fmla="*/ 158576 h 230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5759" h="2300590">
                  <a:moveTo>
                    <a:pt x="0" y="158576"/>
                  </a:moveTo>
                  <a:cubicBezTo>
                    <a:pt x="0" y="70997"/>
                    <a:pt x="70997" y="0"/>
                    <a:pt x="158576" y="0"/>
                  </a:cubicBezTo>
                  <a:lnTo>
                    <a:pt x="1427183" y="0"/>
                  </a:lnTo>
                  <a:cubicBezTo>
                    <a:pt x="1514762" y="0"/>
                    <a:pt x="1585759" y="70997"/>
                    <a:pt x="1585759" y="158576"/>
                  </a:cubicBezTo>
                  <a:lnTo>
                    <a:pt x="1585759" y="2142014"/>
                  </a:lnTo>
                  <a:cubicBezTo>
                    <a:pt x="1585759" y="2229593"/>
                    <a:pt x="1514762" y="2300590"/>
                    <a:pt x="1427183" y="2300590"/>
                  </a:cubicBezTo>
                  <a:lnTo>
                    <a:pt x="158576" y="2300590"/>
                  </a:lnTo>
                  <a:cubicBezTo>
                    <a:pt x="70997" y="2300590"/>
                    <a:pt x="0" y="2229593"/>
                    <a:pt x="0" y="2142014"/>
                  </a:cubicBezTo>
                  <a:lnTo>
                    <a:pt x="0" y="158576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215" tIns="111215" rIns="111215" bIns="111215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700" kern="1200" dirty="0">
                  <a:rtl/>
                </a:rPr>
                <a:t>استخدم مجموعة أدوات ترقية "قاعدة بيانات </a:t>
              </a:r>
              <a:r>
                <a:rPr lang="" sz="1700" kern="1200" dirty="0">
                  <a:rtl val="0"/>
                </a:rPr>
                <a:t>AX 2012</a:t>
              </a:r>
              <a:r>
                <a:rPr lang="ar-sa" sz="1700" kern="1200" dirty="0">
                  <a:rtl/>
                </a:rPr>
                <a:t> لـ </a:t>
              </a:r>
              <a:r>
                <a:rPr lang="" sz="1700" kern="1200" dirty="0">
                  <a:rtl val="0"/>
                </a:rPr>
                <a:t>Dynamics 365</a:t>
              </a:r>
              <a:r>
                <a:rPr lang="ar-sa" sz="1700" kern="1200" dirty="0">
                  <a:rtl/>
                </a:rPr>
                <a:t> من </a:t>
              </a:r>
              <a:r>
                <a:rPr lang="ar-sa" sz="1700" kern="1200" dirty="0">
                  <a:rtl val="0"/>
                </a:rPr>
                <a:t>LCS</a:t>
              </a:r>
              <a:r>
                <a:rPr lang="ar-sa" sz="1700" kern="1200" dirty="0">
                  <a:rtl/>
                </a:rPr>
                <a:t> لنقل بياناتك من بيئة الاختبار المعزولة "المصدر" إلى "الهدف"</a:t>
              </a:r>
              <a:endParaRPr lang="da-DK" sz="1700" kern="120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C52140C-AB0F-44D0-B0EB-5A1B4C36A8E1}"/>
                </a:ext>
              </a:extLst>
            </p:cNvPr>
            <p:cNvSpPr/>
            <p:nvPr/>
          </p:nvSpPr>
          <p:spPr>
            <a:xfrm>
              <a:off x="8918348" y="3287346"/>
              <a:ext cx="336181" cy="393268"/>
            </a:xfrm>
            <a:custGeom>
              <a:avLst/>
              <a:gdLst>
                <a:gd name="connsiteX0" fmla="*/ 0 w 336181"/>
                <a:gd name="connsiteY0" fmla="*/ 78654 h 393268"/>
                <a:gd name="connsiteX1" fmla="*/ 168091 w 336181"/>
                <a:gd name="connsiteY1" fmla="*/ 78654 h 393268"/>
                <a:gd name="connsiteX2" fmla="*/ 168091 w 336181"/>
                <a:gd name="connsiteY2" fmla="*/ 0 h 393268"/>
                <a:gd name="connsiteX3" fmla="*/ 336181 w 336181"/>
                <a:gd name="connsiteY3" fmla="*/ 196634 h 393268"/>
                <a:gd name="connsiteX4" fmla="*/ 168091 w 336181"/>
                <a:gd name="connsiteY4" fmla="*/ 393268 h 393268"/>
                <a:gd name="connsiteX5" fmla="*/ 168091 w 336181"/>
                <a:gd name="connsiteY5" fmla="*/ 314614 h 393268"/>
                <a:gd name="connsiteX6" fmla="*/ 0 w 336181"/>
                <a:gd name="connsiteY6" fmla="*/ 314614 h 393268"/>
                <a:gd name="connsiteX7" fmla="*/ 0 w 336181"/>
                <a:gd name="connsiteY7" fmla="*/ 78654 h 39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181" h="393268">
                  <a:moveTo>
                    <a:pt x="0" y="78654"/>
                  </a:moveTo>
                  <a:lnTo>
                    <a:pt x="168091" y="78654"/>
                  </a:lnTo>
                  <a:lnTo>
                    <a:pt x="168091" y="0"/>
                  </a:lnTo>
                  <a:lnTo>
                    <a:pt x="336181" y="196634"/>
                  </a:lnTo>
                  <a:lnTo>
                    <a:pt x="168091" y="393268"/>
                  </a:lnTo>
                  <a:lnTo>
                    <a:pt x="168091" y="314614"/>
                  </a:lnTo>
                  <a:lnTo>
                    <a:pt x="0" y="314614"/>
                  </a:lnTo>
                  <a:lnTo>
                    <a:pt x="0" y="78654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78654" rIns="100854" bIns="78654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a-DK" sz="1400" kern="12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F0DB7B-AD40-4C28-87E9-1C8F5463DAC7}"/>
                </a:ext>
              </a:extLst>
            </p:cNvPr>
            <p:cNvSpPr/>
            <p:nvPr/>
          </p:nvSpPr>
          <p:spPr>
            <a:xfrm>
              <a:off x="9394076" y="2333685"/>
              <a:ext cx="1585759" cy="2300590"/>
            </a:xfrm>
            <a:custGeom>
              <a:avLst/>
              <a:gdLst>
                <a:gd name="connsiteX0" fmla="*/ 0 w 1585759"/>
                <a:gd name="connsiteY0" fmla="*/ 158576 h 2300590"/>
                <a:gd name="connsiteX1" fmla="*/ 158576 w 1585759"/>
                <a:gd name="connsiteY1" fmla="*/ 0 h 2300590"/>
                <a:gd name="connsiteX2" fmla="*/ 1427183 w 1585759"/>
                <a:gd name="connsiteY2" fmla="*/ 0 h 2300590"/>
                <a:gd name="connsiteX3" fmla="*/ 1585759 w 1585759"/>
                <a:gd name="connsiteY3" fmla="*/ 158576 h 2300590"/>
                <a:gd name="connsiteX4" fmla="*/ 1585759 w 1585759"/>
                <a:gd name="connsiteY4" fmla="*/ 2142014 h 2300590"/>
                <a:gd name="connsiteX5" fmla="*/ 1427183 w 1585759"/>
                <a:gd name="connsiteY5" fmla="*/ 2300590 h 2300590"/>
                <a:gd name="connsiteX6" fmla="*/ 158576 w 1585759"/>
                <a:gd name="connsiteY6" fmla="*/ 2300590 h 2300590"/>
                <a:gd name="connsiteX7" fmla="*/ 0 w 1585759"/>
                <a:gd name="connsiteY7" fmla="*/ 2142014 h 2300590"/>
                <a:gd name="connsiteX8" fmla="*/ 0 w 1585759"/>
                <a:gd name="connsiteY8" fmla="*/ 158576 h 2300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5759" h="2300590">
                  <a:moveTo>
                    <a:pt x="0" y="158576"/>
                  </a:moveTo>
                  <a:cubicBezTo>
                    <a:pt x="0" y="70997"/>
                    <a:pt x="70997" y="0"/>
                    <a:pt x="158576" y="0"/>
                  </a:cubicBezTo>
                  <a:lnTo>
                    <a:pt x="1427183" y="0"/>
                  </a:lnTo>
                  <a:cubicBezTo>
                    <a:pt x="1514762" y="0"/>
                    <a:pt x="1585759" y="70997"/>
                    <a:pt x="1585759" y="158576"/>
                  </a:cubicBezTo>
                  <a:lnTo>
                    <a:pt x="1585759" y="2142014"/>
                  </a:lnTo>
                  <a:cubicBezTo>
                    <a:pt x="1585759" y="2229593"/>
                    <a:pt x="1514762" y="2300590"/>
                    <a:pt x="1427183" y="2300590"/>
                  </a:cubicBezTo>
                  <a:lnTo>
                    <a:pt x="158576" y="2300590"/>
                  </a:lnTo>
                  <a:cubicBezTo>
                    <a:pt x="70997" y="2300590"/>
                    <a:pt x="0" y="2229593"/>
                    <a:pt x="0" y="2142014"/>
                  </a:cubicBezTo>
                  <a:lnTo>
                    <a:pt x="0" y="158576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215" tIns="111215" rIns="111215" bIns="111215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ar-sa" sz="1700" kern="1200" dirty="0">
                  <a:rtl/>
                </a:rPr>
                <a:t>ترقية البيانات</a:t>
              </a:r>
              <a:endParaRPr lang="da-DK" sz="1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6364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0FED10-E3E2-4AF5-B4EB-EEB7CC65E9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0FED10-E3E2-4AF5-B4EB-EEB7CC65E9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94F73B2-D17E-45D7-983D-BDA87D944C3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FB67BB0-8EB2-4FEB-A5F0-6B1906717821}"/>
              </a:ext>
            </a:extLst>
          </p:cNvPr>
          <p:cNvGrpSpPr/>
          <p:nvPr/>
        </p:nvGrpSpPr>
        <p:grpSpPr>
          <a:xfrm flipH="1">
            <a:off x="584200" y="1510252"/>
            <a:ext cx="11092405" cy="3852997"/>
            <a:chOff x="584200" y="1510252"/>
            <a:chExt cx="11092405" cy="3852997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AA53E47-11CD-405C-A9AD-07EA832C07EA}"/>
                </a:ext>
              </a:extLst>
            </p:cNvPr>
            <p:cNvCxnSpPr>
              <a:cxnSpLocks/>
              <a:stCxn id="14" idx="3"/>
              <a:endCxn id="15" idx="1"/>
            </p:cNvCxnSpPr>
            <p:nvPr/>
          </p:nvCxnSpPr>
          <p:spPr>
            <a:xfrm>
              <a:off x="7893472" y="4951769"/>
              <a:ext cx="341419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524FF4E-0D7B-4510-878B-B10EC71C724F}"/>
                </a:ext>
              </a:extLst>
            </p:cNvPr>
            <p:cNvCxnSpPr>
              <a:cxnSpLocks/>
            </p:cNvCxnSpPr>
            <p:nvPr/>
          </p:nvCxnSpPr>
          <p:spPr>
            <a:xfrm>
              <a:off x="9423610" y="4951769"/>
              <a:ext cx="341419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7F093A5-8173-4306-B20B-98D0B49FFFC8}"/>
                </a:ext>
              </a:extLst>
            </p:cNvPr>
            <p:cNvSpPr/>
            <p:nvPr/>
          </p:nvSpPr>
          <p:spPr bwMode="auto">
            <a:xfrm>
              <a:off x="6447452" y="1510252"/>
              <a:ext cx="5229153" cy="28425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solidFill>
                  <a:srgbClr val="FFFFFF"/>
                </a:solidFill>
                <a:ea typeface="Segoe UI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A6F655C7-07E9-4FD4-978A-7B670DA372FD}"/>
                </a:ext>
              </a:extLst>
            </p:cNvPr>
            <p:cNvSpPr/>
            <p:nvPr/>
          </p:nvSpPr>
          <p:spPr bwMode="auto">
            <a:xfrm>
              <a:off x="584200" y="2964877"/>
              <a:ext cx="1188720" cy="5884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>
                  <a:solidFill>
                    <a:schemeClr val="tx2"/>
                  </a:solidFill>
                  <a:latin typeface="+mj-lt"/>
                  <a:ea typeface="Segoe UI" pitchFamily="34" charset="0"/>
                  <a:rtl/>
                </a:rPr>
                <a:t>البدء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E5B234-19BF-4918-B3EB-B7716FAA992E}"/>
                </a:ext>
              </a:extLst>
            </p:cNvPr>
            <p:cNvSpPr/>
            <p:nvPr/>
          </p:nvSpPr>
          <p:spPr bwMode="auto">
            <a:xfrm>
              <a:off x="9765030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>
                  <a:solidFill>
                    <a:schemeClr val="bg1"/>
                  </a:solidFill>
                  <a:ea typeface="Segoe UI" pitchFamily="34" charset="0"/>
                  <a:rtl/>
                </a:rPr>
                <a:t>إجراء اختبار </a:t>
              </a:r>
              <a:br/>
              <a:r>
                <a:rPr lang="ar-sa" sz="1100">
                  <a:solidFill>
                    <a:schemeClr val="bg1"/>
                  </a:solidFill>
                  <a:ea typeface="Segoe UI" pitchFamily="34" charset="0"/>
                  <a:rtl/>
                </a:rPr>
                <a:t>الدخان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7E34D73-351C-430D-9A79-9332CD53534C}"/>
                </a:ext>
              </a:extLst>
            </p:cNvPr>
            <p:cNvSpPr/>
            <p:nvPr/>
          </p:nvSpPr>
          <p:spPr bwMode="auto">
            <a:xfrm>
              <a:off x="584200" y="4657567"/>
              <a:ext cx="1188720" cy="5884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600" dirty="0">
                  <a:solidFill>
                    <a:schemeClr val="tx2"/>
                  </a:solidFill>
                  <a:latin typeface="+mj-lt"/>
                  <a:ea typeface="Segoe UI" pitchFamily="34" charset="0"/>
                  <a:rtl/>
                </a:rPr>
                <a:t>الإنهاء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D508167-DBB9-45DA-9F4F-ED1A5AD89F49}"/>
                </a:ext>
              </a:extLst>
            </p:cNvPr>
            <p:cNvCxnSpPr>
              <a:cxnSpLocks/>
            </p:cNvCxnSpPr>
            <p:nvPr/>
          </p:nvCxnSpPr>
          <p:spPr>
            <a:xfrm>
              <a:off x="9504760" y="3244278"/>
              <a:ext cx="260270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BBA7843-6180-4A9F-8AB5-468836A60BED}"/>
                </a:ext>
              </a:extLst>
            </p:cNvPr>
            <p:cNvCxnSpPr>
              <a:cxnSpLocks/>
            </p:cNvCxnSpPr>
            <p:nvPr/>
          </p:nvCxnSpPr>
          <p:spPr>
            <a:xfrm>
              <a:off x="10953750" y="3221711"/>
              <a:ext cx="12700" cy="1689969"/>
            </a:xfrm>
            <a:prstGeom prst="bentConnector3">
              <a:avLst>
                <a:gd name="adj1" fmla="val 1800000"/>
              </a:avLst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5BAB712-DE5E-4C1B-A3D4-AA2DA4A2C4E1}"/>
                </a:ext>
              </a:extLst>
            </p:cNvPr>
            <p:cNvCxnSpPr>
              <a:cxnSpLocks/>
              <a:endCxn id="14" idx="1"/>
            </p:cNvCxnSpPr>
            <p:nvPr/>
          </p:nvCxnSpPr>
          <p:spPr>
            <a:xfrm flipV="1">
              <a:off x="1772920" y="4951769"/>
              <a:ext cx="4931832" cy="5442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arrow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5A35C7D-FC2F-4A63-8957-49A63654266A}"/>
                </a:ext>
              </a:extLst>
            </p:cNvPr>
            <p:cNvSpPr/>
            <p:nvPr/>
          </p:nvSpPr>
          <p:spPr bwMode="auto">
            <a:xfrm>
              <a:off x="6704752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>
                  <a:solidFill>
                    <a:schemeClr val="bg1"/>
                  </a:solidFill>
                  <a:ea typeface="Segoe UI" pitchFamily="34" charset="0"/>
                  <a:rtl/>
                </a:rPr>
                <a:t>السماح للمستخدمين بالعودة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3FFC436-C630-4710-BD26-8D34F7C6CFD2}"/>
                </a:ext>
              </a:extLst>
            </p:cNvPr>
            <p:cNvSpPr/>
            <p:nvPr/>
          </p:nvSpPr>
          <p:spPr bwMode="auto">
            <a:xfrm>
              <a:off x="8234891" y="4540289"/>
              <a:ext cx="1188720" cy="822960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>
                  <a:solidFill>
                    <a:schemeClr val="bg1"/>
                  </a:solidFill>
                  <a:ea typeface="Segoe UI" pitchFamily="34" charset="0"/>
                  <a:rtl/>
                </a:rPr>
                <a:t>إكمال إعداد التطبيق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44F56C7-D6FB-427B-86CF-1000B65593D8}"/>
                </a:ext>
              </a:extLst>
            </p:cNvPr>
            <p:cNvCxnSpPr>
              <a:cxnSpLocks/>
            </p:cNvCxnSpPr>
            <p:nvPr/>
          </p:nvCxnSpPr>
          <p:spPr>
            <a:xfrm>
              <a:off x="7893471" y="3209314"/>
              <a:ext cx="341420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6969CD9-0730-4299-92F2-F75A20E8DDB0}"/>
                </a:ext>
              </a:extLst>
            </p:cNvPr>
            <p:cNvCxnSpPr>
              <a:cxnSpLocks/>
            </p:cNvCxnSpPr>
            <p:nvPr/>
          </p:nvCxnSpPr>
          <p:spPr>
            <a:xfrm>
              <a:off x="6363332" y="3238862"/>
              <a:ext cx="341420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D3F920A-4D53-4F8B-84C4-CBE26BF67A7A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4904614" y="3259079"/>
              <a:ext cx="270000" cy="2721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7541808-A09F-4E61-95F4-7A833621C1E4}"/>
                </a:ext>
              </a:extLst>
            </p:cNvPr>
            <p:cNvCxnSpPr>
              <a:cxnSpLocks/>
            </p:cNvCxnSpPr>
            <p:nvPr/>
          </p:nvCxnSpPr>
          <p:spPr>
            <a:xfrm>
              <a:off x="3315758" y="3259079"/>
              <a:ext cx="341420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2DB5438-D7BA-43D8-BAF8-B5141AFE27BE}"/>
                </a:ext>
              </a:extLst>
            </p:cNvPr>
            <p:cNvCxnSpPr>
              <a:cxnSpLocks/>
              <a:stCxn id="13" idx="3"/>
              <a:endCxn id="4" idx="1"/>
            </p:cNvCxnSpPr>
            <p:nvPr/>
          </p:nvCxnSpPr>
          <p:spPr>
            <a:xfrm>
              <a:off x="1772920" y="3259079"/>
              <a:ext cx="257300" cy="0"/>
            </a:xfrm>
            <a:prstGeom prst="line">
              <a:avLst/>
            </a:prstGeom>
            <a:ln w="28575" cap="rnd">
              <a:solidFill>
                <a:schemeClr val="tx2"/>
              </a:solidFill>
              <a:headEnd type="none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34CBF74-3FEF-46EC-A604-4543C8547F61}"/>
                </a:ext>
              </a:extLst>
            </p:cNvPr>
            <p:cNvSpPr txBox="1"/>
            <p:nvPr/>
          </p:nvSpPr>
          <p:spPr>
            <a:xfrm>
              <a:off x="6616902" y="1598594"/>
              <a:ext cx="1139735" cy="384721"/>
            </a:xfrm>
            <a:prstGeom prst="rect">
              <a:avLst/>
            </a:prstGeom>
            <a:noFill/>
          </p:spPr>
          <p:txBody>
            <a:bodyPr wrap="none" lIns="88900" tIns="38100" rIns="88900" bIns="38100" rtlCol="1">
              <a:spAutoFit/>
            </a:bodyPr>
            <a:lstStyle/>
            <a:p>
              <a:pPr algn="r" rtl="1"/>
              <a:r>
                <a:rPr lang="ar-sa" sz="2000" b="1" dirty="0">
                  <a:solidFill>
                    <a:schemeClr val="tx2"/>
                  </a:solidFill>
                  <a:latin typeface="+mj-lt"/>
                  <a:rtl/>
                </a:rPr>
                <a:t>وقت التعطل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C646E34-BC27-4BF6-8A35-0C4B59F2A69E}"/>
                </a:ext>
              </a:extLst>
            </p:cNvPr>
            <p:cNvSpPr/>
            <p:nvPr/>
          </p:nvSpPr>
          <p:spPr bwMode="auto">
            <a:xfrm>
              <a:off x="9765030" y="2451462"/>
              <a:ext cx="1188720" cy="162067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100" dirty="0">
                  <a:solidFill>
                    <a:schemeClr val="bg1"/>
                  </a:solidFill>
                  <a:ea typeface="Segoe UI" pitchFamily="34" charset="0"/>
                  <a:rtl/>
                </a:rPr>
                <a:t>نقل قاعدة البيانات إلى الإنتاج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1C39217-5014-4DF2-B0F6-8E0791B36CD3}"/>
                </a:ext>
              </a:extLst>
            </p:cNvPr>
            <p:cNvSpPr/>
            <p:nvPr/>
          </p:nvSpPr>
          <p:spPr bwMode="auto">
            <a:xfrm>
              <a:off x="2030220" y="2451462"/>
              <a:ext cx="1285538" cy="16152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1"/>
              <a:r>
                <a:rPr lang="ar-sa" sz="1100" dirty="0">
                  <a:rtl/>
                </a:rPr>
                <a:t>تأكد من استيفاء جميع المتطلبات الأساسية ونشر التعليمات البرمجية المخصصة في وضع بيئة الاختبار المعزولة</a:t>
              </a:r>
              <a:endParaRPr lang="da-DK" sz="1100" dirty="0"/>
            </a:p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schemeClr val="bg1"/>
                </a:solidFill>
                <a:ea typeface="Segoe UI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7709336-AFEE-4D89-B477-5A03BA9E3485}"/>
                </a:ext>
              </a:extLst>
            </p:cNvPr>
            <p:cNvSpPr/>
            <p:nvPr/>
          </p:nvSpPr>
          <p:spPr bwMode="auto">
            <a:xfrm>
              <a:off x="3644476" y="2451462"/>
              <a:ext cx="1260138" cy="1615234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1"/>
              <a:r>
                <a:rPr lang="ar-sa" sz="1100" dirty="0">
                  <a:rtl/>
                </a:rPr>
                <a:t>تنزيل "مجموعة أدوات ترقية قاعدة بيانات </a:t>
              </a:r>
              <a:r>
                <a:rPr lang="" sz="1100" dirty="0">
                  <a:rtl val="0"/>
                </a:rPr>
                <a:t>AX 2012</a:t>
              </a:r>
              <a:r>
                <a:rPr lang="ar-sa" sz="1100" dirty="0">
                  <a:rtl/>
                </a:rPr>
                <a:t>" لـ </a:t>
              </a:r>
              <a:r>
                <a:rPr lang="" sz="1100" dirty="0">
                  <a:rtl val="0"/>
                </a:rPr>
                <a:t>Dynamics 365</a:t>
              </a:r>
              <a:r>
                <a:rPr lang="ar-sa" sz="1100" dirty="0">
                  <a:rtl/>
                </a:rPr>
                <a:t> من </a:t>
              </a:r>
              <a:r>
                <a:rPr lang="ar-sa" sz="1100" dirty="0">
                  <a:rtl val="0"/>
                </a:rPr>
                <a:t>LCS</a:t>
              </a:r>
              <a:endParaRPr lang="da-DK" sz="110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D17DF63-8BDA-4BDF-B2EC-B0BB27E79F53}"/>
                </a:ext>
              </a:extLst>
            </p:cNvPr>
            <p:cNvSpPr/>
            <p:nvPr/>
          </p:nvSpPr>
          <p:spPr bwMode="auto">
            <a:xfrm>
              <a:off x="5174614" y="2451462"/>
              <a:ext cx="1260138" cy="162067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1"/>
              <a:r>
                <a:rPr lang="ar-sa" sz="1100" dirty="0">
                  <a:rtl/>
                </a:rPr>
                <a:t>قم بتشغيل إعداد النسخ المتماثل من المصدر (حتى الخطوة </a:t>
              </a:r>
              <a:r>
                <a:rPr lang="" sz="1100" dirty="0">
                  <a:rtl val="0"/>
                </a:rPr>
                <a:t>6</a:t>
              </a:r>
              <a:r>
                <a:rPr lang="ar-sa" sz="1100" dirty="0">
                  <a:rtl/>
                </a:rPr>
                <a:t>). راقبه بانتظام</a:t>
              </a:r>
              <a:endParaRPr lang="da-DK" sz="11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03B73B-2184-4D04-A9AC-630F921D52BE}"/>
                </a:ext>
              </a:extLst>
            </p:cNvPr>
            <p:cNvSpPr/>
            <p:nvPr/>
          </p:nvSpPr>
          <p:spPr bwMode="auto">
            <a:xfrm>
              <a:off x="6704752" y="2451461"/>
              <a:ext cx="1269872" cy="1620678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1"/>
              <a:r>
                <a:rPr lang="ar-sa" sz="1100" dirty="0">
                  <a:rtl/>
                </a:rPr>
                <a:t>عند اكتمال النسخ المتماثل، أوقف تشغيل </a:t>
              </a:r>
              <a:r>
                <a:rPr lang="" sz="1100" dirty="0">
                  <a:rtl val="0"/>
                </a:rPr>
                <a:t>AX 2012 AOS’es</a:t>
              </a:r>
              <a:r>
                <a:rPr lang="ar-sa" sz="1100" dirty="0">
                  <a:rtl/>
                </a:rPr>
                <a:t>، تحقق من صحة اكتمال </a:t>
              </a:r>
              <a:r>
                <a:rPr lang="ar-sa" sz="1100" dirty="0">
                  <a:rtl val="0"/>
                </a:rPr>
                <a:t>(dv)</a:t>
              </a:r>
              <a:r>
                <a:rPr lang="ar-sa" sz="1100" dirty="0">
                  <a:rtl/>
                </a:rPr>
                <a:t>، قم بتشغيل خطوات التكوين المرحلي من المصدر</a:t>
              </a:r>
              <a:endParaRPr lang="da-DK" sz="110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752F613-D1B9-4396-B9BF-2C22545873A6}"/>
                </a:ext>
              </a:extLst>
            </p:cNvPr>
            <p:cNvSpPr/>
            <p:nvPr/>
          </p:nvSpPr>
          <p:spPr bwMode="auto">
            <a:xfrm>
              <a:off x="8234889" y="2451461"/>
              <a:ext cx="1269871" cy="162067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1"/>
              <a:r>
                <a:rPr lang="ar-sa" sz="1100" dirty="0">
                  <a:rtl/>
                </a:rPr>
                <a:t>عند اكتمال خطوات التكوين المرحلي، قم بتشغيل ترقية البيانات باستخدام مجموعة الأدوات، وقم بإنهاء ترقية البيانات</a:t>
              </a:r>
              <a:endParaRPr lang="da-DK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4068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5VrwZYyjx.6PUnkPrG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wfzjDimeWTv0hM3USp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6</TotalTime>
  <Words>582</Words>
  <Application>Microsoft Office PowerPoint</Application>
  <PresentationFormat>Widescreen</PresentationFormat>
  <Paragraphs>80</Paragraphs>
  <Slides>7</Slides>
  <Notes>4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Mullen, Meghan</dc:creator>
  <cp:lastModifiedBy>Ali Sayed</cp:lastModifiedBy>
  <cp:revision>8</cp:revision>
  <dcterms:created xsi:type="dcterms:W3CDTF">2021-01-25T22:36:36Z</dcterms:created>
  <dcterms:modified xsi:type="dcterms:W3CDTF">2021-10-20T00:30:31Z</dcterms:modified>
</cp:coreProperties>
</file>